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1"/>
    <p:sldMasterId id="2147483767" r:id="rId2"/>
    <p:sldMasterId id="2147483784" r:id="rId3"/>
  </p:sldMasterIdLst>
  <p:notesMasterIdLst>
    <p:notesMasterId r:id="rId10"/>
  </p:notesMasterIdLst>
  <p:handoutMasterIdLst>
    <p:handoutMasterId r:id="rId11"/>
  </p:handoutMasterIdLst>
  <p:sldIdLst>
    <p:sldId id="256" r:id="rId4"/>
    <p:sldId id="629" r:id="rId5"/>
    <p:sldId id="627" r:id="rId6"/>
    <p:sldId id="632" r:id="rId7"/>
    <p:sldId id="633" r:id="rId8"/>
    <p:sldId id="264" r:id="rId9"/>
  </p:sldIdLst>
  <p:sldSz cx="9144000" cy="6858000" type="screen4x3"/>
  <p:notesSz cx="6807200" cy="9939338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DCDCDC"/>
    <a:srgbClr val="A0A0A0"/>
    <a:srgbClr val="7D0000"/>
    <a:srgbClr val="E6E6E6"/>
    <a:srgbClr val="FFC000"/>
    <a:srgbClr val="E87A2B"/>
    <a:srgbClr val="6A7173"/>
    <a:srgbClr val="FFB500"/>
    <a:srgbClr val="C85D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618" autoAdjust="0"/>
    <p:restoredTop sz="95179" autoAdjust="0"/>
  </p:normalViewPr>
  <p:slideViewPr>
    <p:cSldViewPr snapToGrid="0" snapToObjects="1">
      <p:cViewPr varScale="1">
        <p:scale>
          <a:sx n="91" d="100"/>
          <a:sy n="91" d="100"/>
        </p:scale>
        <p:origin x="1152" y="176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8/5/10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5282661-8951-486A-80A3-5A15653D0ACD}" type="datetimeFigureOut">
              <a:rPr lang="zh-CN" altLang="en-US" smtClean="0"/>
              <a:t>2018/5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4114132-ADB0-44BA-ADDA-6C2A488BA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840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66813" y="1243013"/>
            <a:ext cx="4473575" cy="33543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14132-ADB0-44BA-ADDA-6C2A488BA867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3350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0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8" Type="http://schemas.openxmlformats.org/officeDocument/2006/relationships/image" Target="../media/image7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9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9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4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2" y="6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1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5" name="Picture 2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6873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316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9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9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4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2" y="6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3251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1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513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90" y="545307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9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6" y="2076543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31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377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1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4" y="12"/>
            <a:ext cx="7411907" cy="1095121"/>
          </a:xfr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01" b="1" kern="1200" spc="0" baseline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9104" y="1163369"/>
            <a:ext cx="8205805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626"/>
            </a:lvl2pPr>
            <a:lvl3pPr>
              <a:defRPr sz="2401"/>
            </a:lvl3pPr>
            <a:lvl4pPr>
              <a:defRPr sz="2176"/>
            </a:lvl4pPr>
            <a:lvl5pPr>
              <a:defRPr sz="2026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76956" y="119933"/>
            <a:ext cx="687171" cy="85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5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3" y="12"/>
            <a:ext cx="7323687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88305" y="147913"/>
            <a:ext cx="664473" cy="82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07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案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86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104" y="1015444"/>
            <a:ext cx="820580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3901"/>
              </a:lnSpc>
              <a:defRPr sz="2701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15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Chrome Yellow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10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4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20" y="1443047"/>
            <a:ext cx="8207375" cy="1323975"/>
          </a:xfr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chemeClr val="tx1"/>
                </a:solidFill>
                <a:latin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8049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_White_To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10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347031" y="2173454"/>
            <a:ext cx="4449552" cy="60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6" i="0" baseline="0" dirty="0">
                <a:solidFill>
                  <a:srgbClr val="FFB500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/>
              <a:t>Click to add tit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1969" y="2159478"/>
            <a:ext cx="2640123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5" dirty="0">
                <a:solidFill>
                  <a:srgbClr val="FFB500"/>
                </a:solidFill>
                <a:latin typeface="+mn-lt"/>
                <a:ea typeface="+mn-ea"/>
                <a:cs typeface="+mn-cs"/>
              </a:defRPr>
            </a:lvl1pPr>
            <a:lvl2pPr marL="4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add subtitle</a:t>
            </a:r>
            <a:endParaRPr lang="de-DE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461969" y="41629"/>
            <a:ext cx="2306397" cy="2060440"/>
            <a:chOff x="5701703" y="682760"/>
            <a:chExt cx="3074395" cy="2060440"/>
          </a:xfrm>
        </p:grpSpPr>
        <p:sp>
          <p:nvSpPr>
            <p:cNvPr id="15" name="Freeform 1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61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271" y="887465"/>
            <a:ext cx="3796746" cy="2464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209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 defTabSz="686166">
              <a:defRPr/>
            </a:pPr>
            <a:fld id="{CD26B40A-7A2D-1643-A5E3-095B2EAF6671}" type="slidenum">
              <a:rPr lang="en-US" smtClean="0">
                <a:solidFill>
                  <a:srgbClr val="FFFFFF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474058" y="-2590800"/>
            <a:ext cx="8104217" cy="9274175"/>
            <a:chOff x="474054" y="-902309"/>
            <a:chExt cx="8104217" cy="7585684"/>
          </a:xfrm>
        </p:grpSpPr>
        <p:grpSp>
          <p:nvGrpSpPr>
            <p:cNvPr id="91" name="Group 23"/>
            <p:cNvGrpSpPr>
              <a:grpSpLocks/>
            </p:cNvGrpSpPr>
            <p:nvPr userDrawn="1"/>
          </p:nvGrpSpPr>
          <p:grpSpPr bwMode="auto">
            <a:xfrm>
              <a:off x="6815471" y="4740911"/>
              <a:ext cx="1762800" cy="1942464"/>
              <a:chOff x="8731978" y="3934603"/>
              <a:chExt cx="2465263" cy="2716361"/>
            </a:xfrm>
          </p:grpSpPr>
          <p:grpSp>
            <p:nvGrpSpPr>
              <p:cNvPr id="140" name="Group 24"/>
              <p:cNvGrpSpPr>
                <a:grpSpLocks/>
              </p:cNvGrpSpPr>
              <p:nvPr/>
            </p:nvGrpSpPr>
            <p:grpSpPr bwMode="auto">
              <a:xfrm>
                <a:off x="10251199" y="4091793"/>
                <a:ext cx="389631" cy="389626"/>
                <a:chOff x="10284619" y="4038600"/>
                <a:chExt cx="389626" cy="389626"/>
              </a:xfrm>
            </p:grpSpPr>
            <p:sp>
              <p:nvSpPr>
                <p:cNvPr id="177" name="Oval 176"/>
                <p:cNvSpPr/>
                <p:nvPr/>
              </p:nvSpPr>
              <p:spPr>
                <a:xfrm>
                  <a:off x="10283807" y="4038058"/>
                  <a:ext cx="390786" cy="390756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>
                <a:xfrm>
                  <a:off x="10319958" y="4074207"/>
                  <a:ext cx="318483" cy="31845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25"/>
              <p:cNvGrpSpPr>
                <a:grpSpLocks/>
              </p:cNvGrpSpPr>
              <p:nvPr/>
            </p:nvGrpSpPr>
            <p:grpSpPr bwMode="auto">
              <a:xfrm>
                <a:off x="9651181" y="3934603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5" name="Oval 174"/>
                <p:cNvSpPr/>
                <p:nvPr/>
              </p:nvSpPr>
              <p:spPr>
                <a:xfrm>
                  <a:off x="10284756" y="4038600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Oval 175"/>
                <p:cNvSpPr/>
                <p:nvPr/>
              </p:nvSpPr>
              <p:spPr>
                <a:xfrm>
                  <a:off x="10320189" y="4074030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oup 26"/>
              <p:cNvGrpSpPr>
                <a:grpSpLocks/>
              </p:cNvGrpSpPr>
              <p:nvPr/>
            </p:nvGrpSpPr>
            <p:grpSpPr bwMode="auto">
              <a:xfrm>
                <a:off x="9022405" y="4157925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3" name="Oval 172"/>
                <p:cNvSpPr/>
                <p:nvPr/>
              </p:nvSpPr>
              <p:spPr>
                <a:xfrm>
                  <a:off x="10285282" y="403919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l 173"/>
                <p:cNvSpPr/>
                <p:nvPr/>
              </p:nvSpPr>
              <p:spPr>
                <a:xfrm>
                  <a:off x="10320715" y="407462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oup 27"/>
              <p:cNvGrpSpPr>
                <a:grpSpLocks/>
              </p:cNvGrpSpPr>
              <p:nvPr/>
            </p:nvGrpSpPr>
            <p:grpSpPr bwMode="auto">
              <a:xfrm>
                <a:off x="10741955" y="4648196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1" name="Oval 170"/>
                <p:cNvSpPr/>
                <p:nvPr/>
              </p:nvSpPr>
              <p:spPr>
                <a:xfrm>
                  <a:off x="10285643" y="4039611"/>
                  <a:ext cx="387549" cy="387517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>
                <a:xfrm>
                  <a:off x="10321076" y="4075041"/>
                  <a:ext cx="316683" cy="316657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4" name="Group 28"/>
              <p:cNvGrpSpPr>
                <a:grpSpLocks/>
              </p:cNvGrpSpPr>
              <p:nvPr/>
            </p:nvGrpSpPr>
            <p:grpSpPr bwMode="auto">
              <a:xfrm>
                <a:off x="10894355" y="5367540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9" name="Oval 168"/>
                <p:cNvSpPr/>
                <p:nvPr/>
              </p:nvSpPr>
              <p:spPr>
                <a:xfrm>
                  <a:off x="10284481" y="4037653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>
                <a:xfrm>
                  <a:off x="10319914" y="4073083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5" name="Group 29"/>
              <p:cNvGrpSpPr>
                <a:grpSpLocks/>
              </p:cNvGrpSpPr>
              <p:nvPr/>
            </p:nvGrpSpPr>
            <p:grpSpPr bwMode="auto">
              <a:xfrm>
                <a:off x="8731978" y="5296132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7" name="Oval 166"/>
                <p:cNvSpPr/>
                <p:nvPr/>
              </p:nvSpPr>
              <p:spPr>
                <a:xfrm>
                  <a:off x="10284619" y="403872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>
                <a:xfrm>
                  <a:off x="10320052" y="407415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6" name="Group 30"/>
              <p:cNvGrpSpPr>
                <a:grpSpLocks/>
              </p:cNvGrpSpPr>
              <p:nvPr/>
            </p:nvGrpSpPr>
            <p:grpSpPr bwMode="auto">
              <a:xfrm>
                <a:off x="8946677" y="6053341"/>
                <a:ext cx="349377" cy="349373"/>
                <a:chOff x="10284619" y="4038600"/>
                <a:chExt cx="389626" cy="389626"/>
              </a:xfrm>
            </p:grpSpPr>
            <p:sp>
              <p:nvSpPr>
                <p:cNvPr id="165" name="Oval 164"/>
                <p:cNvSpPr/>
                <p:nvPr/>
              </p:nvSpPr>
              <p:spPr>
                <a:xfrm>
                  <a:off x="10285170" y="4038934"/>
                  <a:ext cx="389736" cy="38970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Oval 165"/>
                <p:cNvSpPr/>
                <p:nvPr/>
              </p:nvSpPr>
              <p:spPr>
                <a:xfrm>
                  <a:off x="10319728" y="4073489"/>
                  <a:ext cx="320620" cy="320593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7" name="Group 31"/>
              <p:cNvGrpSpPr>
                <a:grpSpLocks/>
              </p:cNvGrpSpPr>
              <p:nvPr/>
            </p:nvGrpSpPr>
            <p:grpSpPr bwMode="auto">
              <a:xfrm>
                <a:off x="10493704" y="6172197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10283919" y="4038865"/>
                  <a:ext cx="390053" cy="39002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10319379" y="4074323"/>
                  <a:ext cx="319133" cy="31910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" name="Group 32"/>
              <p:cNvGrpSpPr>
                <a:grpSpLocks/>
              </p:cNvGrpSpPr>
              <p:nvPr/>
            </p:nvGrpSpPr>
            <p:grpSpPr bwMode="auto">
              <a:xfrm>
                <a:off x="9746551" y="6329390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1" name="Oval 160"/>
                <p:cNvSpPr/>
                <p:nvPr/>
              </p:nvSpPr>
              <p:spPr>
                <a:xfrm>
                  <a:off x="10283917" y="4038205"/>
                  <a:ext cx="390053" cy="390021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l 161"/>
                <p:cNvSpPr/>
                <p:nvPr/>
              </p:nvSpPr>
              <p:spPr>
                <a:xfrm>
                  <a:off x="10319377" y="4073660"/>
                  <a:ext cx="319133" cy="319110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" name="Group 33"/>
              <p:cNvGrpSpPr>
                <a:grpSpLocks/>
              </p:cNvGrpSpPr>
              <p:nvPr userDrawn="1"/>
            </p:nvGrpSpPr>
            <p:grpSpPr bwMode="auto">
              <a:xfrm>
                <a:off x="9751344" y="4876798"/>
                <a:ext cx="557849" cy="557841"/>
                <a:chOff x="10284609" y="4038595"/>
                <a:chExt cx="389626" cy="389625"/>
              </a:xfrm>
            </p:grpSpPr>
            <p:sp>
              <p:nvSpPr>
                <p:cNvPr id="159" name="Oval 158"/>
                <p:cNvSpPr/>
                <p:nvPr/>
              </p:nvSpPr>
              <p:spPr>
                <a:xfrm>
                  <a:off x="10284464" y="4038182"/>
                  <a:ext cx="389580" cy="389549"/>
                </a:xfrm>
                <a:prstGeom prst="ellipse">
                  <a:avLst/>
                </a:prstGeom>
                <a:solidFill>
                  <a:schemeClr val="bg1">
                    <a:alpha val="5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>
                <a:xfrm>
                  <a:off x="10319334" y="4073049"/>
                  <a:ext cx="319840" cy="319815"/>
                </a:xfrm>
                <a:prstGeom prst="ellipse">
                  <a:avLst/>
                </a:prstGeom>
                <a:solidFill>
                  <a:srgbClr val="887799">
                    <a:alpha val="7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0" name="Rectangle 149"/>
              <p:cNvSpPr/>
              <p:nvPr/>
            </p:nvSpPr>
            <p:spPr>
              <a:xfrm rot="17768796">
                <a:off x="10015417" y="4661891"/>
                <a:ext cx="485433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 rot="15582022">
                <a:off x="9568682" y="4542254"/>
                <a:ext cx="659295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 rot="20441708">
                <a:off x="10267603" y="4929569"/>
                <a:ext cx="513023" cy="36150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52"/>
              <p:cNvSpPr/>
              <p:nvPr/>
            </p:nvSpPr>
            <p:spPr>
              <a:xfrm rot="20739807">
                <a:off x="9021199" y="5303112"/>
                <a:ext cx="752318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Rectangle 153"/>
              <p:cNvSpPr/>
              <p:nvPr/>
            </p:nvSpPr>
            <p:spPr>
              <a:xfrm rot="1060210">
                <a:off x="10272767" y="5337540"/>
                <a:ext cx="652469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>
              <a:xfrm rot="3726459">
                <a:off x="9937966" y="5775633"/>
                <a:ext cx="88824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 rot="18532203">
                <a:off x="9056534" y="5708499"/>
                <a:ext cx="95021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>
              <a:xfrm rot="13592697">
                <a:off x="9159819" y="4675662"/>
                <a:ext cx="781513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 rot="16478464">
                <a:off x="9496388" y="5862564"/>
                <a:ext cx="896847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 rot="540000">
              <a:off x="1689339" y="5086732"/>
              <a:ext cx="5925301" cy="180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 userDrawn="1"/>
          </p:nvGrpSpPr>
          <p:grpSpPr>
            <a:xfrm>
              <a:off x="474054" y="2905125"/>
              <a:ext cx="2751466" cy="3107611"/>
              <a:chOff x="474054" y="2381250"/>
              <a:chExt cx="2751466" cy="3107611"/>
            </a:xfrm>
          </p:grpSpPr>
          <p:grpSp>
            <p:nvGrpSpPr>
              <p:cNvPr id="96" name="Group 95"/>
              <p:cNvGrpSpPr/>
              <p:nvPr/>
            </p:nvGrpSpPr>
            <p:grpSpPr>
              <a:xfrm>
                <a:off x="663536" y="2578890"/>
                <a:ext cx="2482217" cy="2717284"/>
                <a:chOff x="914400" y="2092325"/>
                <a:chExt cx="3167063" cy="3467100"/>
              </a:xfrm>
              <a:solidFill>
                <a:schemeClr val="bg1">
                  <a:lumMod val="85000"/>
                  <a:alpha val="48000"/>
                </a:schemeClr>
              </a:solidFill>
            </p:grpSpPr>
            <p:grpSp>
              <p:nvGrpSpPr>
                <p:cNvPr id="129" name="Group 90"/>
                <p:cNvGrpSpPr>
                  <a:grpSpLocks/>
                </p:cNvGrpSpPr>
                <p:nvPr/>
              </p:nvGrpSpPr>
              <p:grpSpPr bwMode="auto">
                <a:xfrm>
                  <a:off x="1223963" y="2730500"/>
                  <a:ext cx="2857500" cy="2081213"/>
                  <a:chOff x="1224511" y="2730600"/>
                  <a:chExt cx="2856188" cy="2081057"/>
                </a:xfrm>
                <a:grpFill/>
              </p:grpSpPr>
              <p:sp>
                <p:nvSpPr>
                  <p:cNvPr id="138" name="Freeform 286"/>
                  <p:cNvSpPr>
                    <a:spLocks/>
                  </p:cNvSpPr>
                  <p:nvPr/>
                </p:nvSpPr>
                <p:spPr bwMode="auto">
                  <a:xfrm>
                    <a:off x="1981718" y="3799659"/>
                    <a:ext cx="2098981" cy="158284"/>
                  </a:xfrm>
                  <a:custGeom>
                    <a:avLst/>
                    <a:gdLst>
                      <a:gd name="T0" fmla="*/ 0 w 915"/>
                      <a:gd name="T1" fmla="*/ 69 h 69"/>
                      <a:gd name="T2" fmla="*/ 915 w 915"/>
                      <a:gd name="T3" fmla="*/ 16 h 69"/>
                      <a:gd name="T4" fmla="*/ 915 w 915"/>
                      <a:gd name="T5" fmla="*/ 0 h 69"/>
                      <a:gd name="T6" fmla="*/ 0 w 915"/>
                      <a:gd name="T7" fmla="*/ 53 h 69"/>
                      <a:gd name="T8" fmla="*/ 0 w 915"/>
                      <a:gd name="T9" fmla="*/ 69 h 6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915" h="69">
                        <a:moveTo>
                          <a:pt x="0" y="69"/>
                        </a:moveTo>
                        <a:lnTo>
                          <a:pt x="915" y="16"/>
                        </a:lnTo>
                        <a:lnTo>
                          <a:pt x="915" y="0"/>
                        </a:lnTo>
                        <a:lnTo>
                          <a:pt x="0" y="53"/>
                        </a:lnTo>
                        <a:lnTo>
                          <a:pt x="0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9" name="Freeform 367"/>
                  <p:cNvSpPr>
                    <a:spLocks noEditPoints="1"/>
                  </p:cNvSpPr>
                  <p:nvPr/>
                </p:nvSpPr>
                <p:spPr bwMode="auto">
                  <a:xfrm>
                    <a:off x="1224511" y="2730600"/>
                    <a:ext cx="2026223" cy="2081057"/>
                  </a:xfrm>
                  <a:custGeom>
                    <a:avLst/>
                    <a:gdLst>
                      <a:gd name="T0" fmla="*/ 72 w 218"/>
                      <a:gd name="T1" fmla="*/ 220 h 224"/>
                      <a:gd name="T2" fmla="*/ 28 w 218"/>
                      <a:gd name="T3" fmla="*/ 204 h 224"/>
                      <a:gd name="T4" fmla="*/ 7 w 218"/>
                      <a:gd name="T5" fmla="*/ 139 h 224"/>
                      <a:gd name="T6" fmla="*/ 46 w 218"/>
                      <a:gd name="T7" fmla="*/ 57 h 224"/>
                      <a:gd name="T8" fmla="*/ 146 w 218"/>
                      <a:gd name="T9" fmla="*/ 4 h 224"/>
                      <a:gd name="T10" fmla="*/ 190 w 218"/>
                      <a:gd name="T11" fmla="*/ 20 h 224"/>
                      <a:gd name="T12" fmla="*/ 211 w 218"/>
                      <a:gd name="T13" fmla="*/ 85 h 224"/>
                      <a:gd name="T14" fmla="*/ 172 w 218"/>
                      <a:gd name="T15" fmla="*/ 167 h 224"/>
                      <a:gd name="T16" fmla="*/ 72 w 218"/>
                      <a:gd name="T17" fmla="*/ 220 h 224"/>
                      <a:gd name="T18" fmla="*/ 146 w 218"/>
                      <a:gd name="T19" fmla="*/ 0 h 224"/>
                      <a:gd name="T20" fmla="*/ 43 w 218"/>
                      <a:gd name="T21" fmla="*/ 54 h 224"/>
                      <a:gd name="T22" fmla="*/ 3 w 218"/>
                      <a:gd name="T23" fmla="*/ 138 h 224"/>
                      <a:gd name="T24" fmla="*/ 25 w 218"/>
                      <a:gd name="T25" fmla="*/ 208 h 224"/>
                      <a:gd name="T26" fmla="*/ 72 w 218"/>
                      <a:gd name="T27" fmla="*/ 224 h 224"/>
                      <a:gd name="T28" fmla="*/ 175 w 218"/>
                      <a:gd name="T29" fmla="*/ 170 h 224"/>
                      <a:gd name="T30" fmla="*/ 215 w 218"/>
                      <a:gd name="T31" fmla="*/ 86 h 224"/>
                      <a:gd name="T32" fmla="*/ 193 w 218"/>
                      <a:gd name="T33" fmla="*/ 17 h 224"/>
                      <a:gd name="T34" fmla="*/ 146 w 218"/>
                      <a:gd name="T35" fmla="*/ 0 h 22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218" h="224">
                        <a:moveTo>
                          <a:pt x="72" y="220"/>
                        </a:moveTo>
                        <a:cubicBezTo>
                          <a:pt x="55" y="220"/>
                          <a:pt x="40" y="214"/>
                          <a:pt x="28" y="204"/>
                        </a:cubicBezTo>
                        <a:cubicBezTo>
                          <a:pt x="11" y="190"/>
                          <a:pt x="4" y="166"/>
                          <a:pt x="7" y="139"/>
                        </a:cubicBezTo>
                        <a:cubicBezTo>
                          <a:pt x="10" y="111"/>
                          <a:pt x="24" y="82"/>
                          <a:pt x="46" y="57"/>
                        </a:cubicBezTo>
                        <a:cubicBezTo>
                          <a:pt x="74" y="25"/>
                          <a:pt x="113" y="4"/>
                          <a:pt x="146" y="4"/>
                        </a:cubicBezTo>
                        <a:cubicBezTo>
                          <a:pt x="163" y="4"/>
                          <a:pt x="178" y="10"/>
                          <a:pt x="190" y="20"/>
                        </a:cubicBezTo>
                        <a:cubicBezTo>
                          <a:pt x="207" y="34"/>
                          <a:pt x="214" y="58"/>
                          <a:pt x="211" y="85"/>
                        </a:cubicBezTo>
                        <a:cubicBezTo>
                          <a:pt x="208" y="113"/>
                          <a:pt x="194" y="143"/>
                          <a:pt x="172" y="167"/>
                        </a:cubicBezTo>
                        <a:cubicBezTo>
                          <a:pt x="144" y="200"/>
                          <a:pt x="105" y="220"/>
                          <a:pt x="72" y="220"/>
                        </a:cubicBezTo>
                        <a:moveTo>
                          <a:pt x="146" y="0"/>
                        </a:moveTo>
                        <a:cubicBezTo>
                          <a:pt x="111" y="0"/>
                          <a:pt x="72" y="20"/>
                          <a:pt x="43" y="54"/>
                        </a:cubicBezTo>
                        <a:cubicBezTo>
                          <a:pt x="20" y="79"/>
                          <a:pt x="6" y="109"/>
                          <a:pt x="3" y="138"/>
                        </a:cubicBezTo>
                        <a:cubicBezTo>
                          <a:pt x="0" y="167"/>
                          <a:pt x="8" y="192"/>
                          <a:pt x="25" y="208"/>
                        </a:cubicBezTo>
                        <a:cubicBezTo>
                          <a:pt x="38" y="218"/>
                          <a:pt x="54" y="224"/>
                          <a:pt x="72" y="224"/>
                        </a:cubicBezTo>
                        <a:cubicBezTo>
                          <a:pt x="107" y="224"/>
                          <a:pt x="146" y="204"/>
                          <a:pt x="175" y="170"/>
                        </a:cubicBezTo>
                        <a:cubicBezTo>
                          <a:pt x="198" y="145"/>
                          <a:pt x="212" y="115"/>
                          <a:pt x="215" y="86"/>
                        </a:cubicBezTo>
                        <a:cubicBezTo>
                          <a:pt x="218" y="57"/>
                          <a:pt x="210" y="32"/>
                          <a:pt x="193" y="17"/>
                        </a:cubicBezTo>
                        <a:cubicBezTo>
                          <a:pt x="180" y="6"/>
                          <a:pt x="164" y="0"/>
                          <a:pt x="14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  <p:grpSp>
              <p:nvGrpSpPr>
                <p:cNvPr id="130" name="Group 89"/>
                <p:cNvGrpSpPr>
                  <a:grpSpLocks/>
                </p:cNvGrpSpPr>
                <p:nvPr/>
              </p:nvGrpSpPr>
              <p:grpSpPr bwMode="auto">
                <a:xfrm>
                  <a:off x="914400" y="2092325"/>
                  <a:ext cx="2595563" cy="3467100"/>
                  <a:chOff x="915023" y="2092948"/>
                  <a:chExt cx="2594477" cy="3466184"/>
                </a:xfrm>
                <a:grpFill/>
              </p:grpSpPr>
              <p:sp>
                <p:nvSpPr>
                  <p:cNvPr id="131" name="Freeform 288"/>
                  <p:cNvSpPr>
                    <a:spLocks/>
                  </p:cNvSpPr>
                  <p:nvPr/>
                </p:nvSpPr>
                <p:spPr bwMode="auto">
                  <a:xfrm>
                    <a:off x="1972542" y="3930415"/>
                    <a:ext cx="1442906" cy="945115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2" name="Freeform 290"/>
                  <p:cNvSpPr>
                    <a:spLocks/>
                  </p:cNvSpPr>
                  <p:nvPr/>
                </p:nvSpPr>
                <p:spPr bwMode="auto">
                  <a:xfrm>
                    <a:off x="915023" y="3593202"/>
                    <a:ext cx="1066695" cy="364742"/>
                  </a:xfrm>
                  <a:custGeom>
                    <a:avLst/>
                    <a:gdLst>
                      <a:gd name="T0" fmla="*/ 465 w 465"/>
                      <a:gd name="T1" fmla="*/ 143 h 159"/>
                      <a:gd name="T2" fmla="*/ 4 w 465"/>
                      <a:gd name="T3" fmla="*/ 0 h 159"/>
                      <a:gd name="T4" fmla="*/ 0 w 465"/>
                      <a:gd name="T5" fmla="*/ 12 h 159"/>
                      <a:gd name="T6" fmla="*/ 461 w 465"/>
                      <a:gd name="T7" fmla="*/ 159 h 159"/>
                      <a:gd name="T8" fmla="*/ 465 w 465"/>
                      <a:gd name="T9" fmla="*/ 143 h 15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65" h="159">
                        <a:moveTo>
                          <a:pt x="465" y="143"/>
                        </a:moveTo>
                        <a:lnTo>
                          <a:pt x="4" y="0"/>
                        </a:lnTo>
                        <a:lnTo>
                          <a:pt x="0" y="12"/>
                        </a:lnTo>
                        <a:lnTo>
                          <a:pt x="461" y="159"/>
                        </a:lnTo>
                        <a:lnTo>
                          <a:pt x="465" y="14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3" name="Freeform 292"/>
                  <p:cNvSpPr>
                    <a:spLocks/>
                  </p:cNvSpPr>
                  <p:nvPr/>
                </p:nvSpPr>
                <p:spPr bwMode="auto">
                  <a:xfrm>
                    <a:off x="951726" y="3930415"/>
                    <a:ext cx="1039168" cy="768480"/>
                  </a:xfrm>
                  <a:custGeom>
                    <a:avLst/>
                    <a:gdLst>
                      <a:gd name="T0" fmla="*/ 8 w 453"/>
                      <a:gd name="T1" fmla="*/ 335 h 335"/>
                      <a:gd name="T2" fmla="*/ 453 w 453"/>
                      <a:gd name="T3" fmla="*/ 12 h 335"/>
                      <a:gd name="T4" fmla="*/ 445 w 453"/>
                      <a:gd name="T5" fmla="*/ 0 h 335"/>
                      <a:gd name="T6" fmla="*/ 0 w 453"/>
                      <a:gd name="T7" fmla="*/ 322 h 335"/>
                      <a:gd name="T8" fmla="*/ 8 w 453"/>
                      <a:gd name="T9" fmla="*/ 335 h 33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53" h="335">
                        <a:moveTo>
                          <a:pt x="8" y="335"/>
                        </a:moveTo>
                        <a:lnTo>
                          <a:pt x="453" y="12"/>
                        </a:lnTo>
                        <a:lnTo>
                          <a:pt x="445" y="0"/>
                        </a:lnTo>
                        <a:lnTo>
                          <a:pt x="0" y="322"/>
                        </a:lnTo>
                        <a:lnTo>
                          <a:pt x="8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4" name="Freeform 294"/>
                  <p:cNvSpPr>
                    <a:spLocks/>
                  </p:cNvSpPr>
                  <p:nvPr/>
                </p:nvSpPr>
                <p:spPr bwMode="auto">
                  <a:xfrm>
                    <a:off x="1963366" y="2092948"/>
                    <a:ext cx="628547" cy="1855820"/>
                  </a:xfrm>
                  <a:custGeom>
                    <a:avLst/>
                    <a:gdLst>
                      <a:gd name="T0" fmla="*/ 16 w 274"/>
                      <a:gd name="T1" fmla="*/ 809 h 809"/>
                      <a:gd name="T2" fmla="*/ 274 w 274"/>
                      <a:gd name="T3" fmla="*/ 4 h 809"/>
                      <a:gd name="T4" fmla="*/ 261 w 274"/>
                      <a:gd name="T5" fmla="*/ 0 h 809"/>
                      <a:gd name="T6" fmla="*/ 0 w 274"/>
                      <a:gd name="T7" fmla="*/ 805 h 809"/>
                      <a:gd name="T8" fmla="*/ 16 w 274"/>
                      <a:gd name="T9" fmla="*/ 809 h 8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74" h="809">
                        <a:moveTo>
                          <a:pt x="16" y="809"/>
                        </a:moveTo>
                        <a:lnTo>
                          <a:pt x="274" y="4"/>
                        </a:lnTo>
                        <a:lnTo>
                          <a:pt x="261" y="0"/>
                        </a:lnTo>
                        <a:lnTo>
                          <a:pt x="0" y="805"/>
                        </a:lnTo>
                        <a:lnTo>
                          <a:pt x="16" y="80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5" name="Freeform 296"/>
                  <p:cNvSpPr>
                    <a:spLocks/>
                  </p:cNvSpPr>
                  <p:nvPr/>
                </p:nvSpPr>
                <p:spPr bwMode="auto">
                  <a:xfrm>
                    <a:off x="1972542" y="2758198"/>
                    <a:ext cx="1536958" cy="1199746"/>
                  </a:xfrm>
                  <a:custGeom>
                    <a:avLst/>
                    <a:gdLst>
                      <a:gd name="T0" fmla="*/ 657 w 670"/>
                      <a:gd name="T1" fmla="*/ 0 h 523"/>
                      <a:gd name="T2" fmla="*/ 0 w 670"/>
                      <a:gd name="T3" fmla="*/ 511 h 523"/>
                      <a:gd name="T4" fmla="*/ 8 w 670"/>
                      <a:gd name="T5" fmla="*/ 523 h 523"/>
                      <a:gd name="T6" fmla="*/ 670 w 670"/>
                      <a:gd name="T7" fmla="*/ 12 h 523"/>
                      <a:gd name="T8" fmla="*/ 657 w 670"/>
                      <a:gd name="T9" fmla="*/ 0 h 5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70" h="523">
                        <a:moveTo>
                          <a:pt x="657" y="0"/>
                        </a:moveTo>
                        <a:lnTo>
                          <a:pt x="0" y="511"/>
                        </a:lnTo>
                        <a:lnTo>
                          <a:pt x="8" y="523"/>
                        </a:lnTo>
                        <a:lnTo>
                          <a:pt x="670" y="12"/>
                        </a:lnTo>
                        <a:lnTo>
                          <a:pt x="657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6" name="Freeform 310"/>
                  <p:cNvSpPr>
                    <a:spLocks/>
                  </p:cNvSpPr>
                  <p:nvPr/>
                </p:nvSpPr>
                <p:spPr bwMode="auto">
                  <a:xfrm>
                    <a:off x="1935839" y="3939591"/>
                    <a:ext cx="64231" cy="1619541"/>
                  </a:xfrm>
                  <a:custGeom>
                    <a:avLst/>
                    <a:gdLst>
                      <a:gd name="T0" fmla="*/ 12 w 28"/>
                      <a:gd name="T1" fmla="*/ 0 h 706"/>
                      <a:gd name="T2" fmla="*/ 0 w 28"/>
                      <a:gd name="T3" fmla="*/ 706 h 706"/>
                      <a:gd name="T4" fmla="*/ 12 w 28"/>
                      <a:gd name="T5" fmla="*/ 706 h 706"/>
                      <a:gd name="T6" fmla="*/ 28 w 28"/>
                      <a:gd name="T7" fmla="*/ 0 h 706"/>
                      <a:gd name="T8" fmla="*/ 12 w 28"/>
                      <a:gd name="T9" fmla="*/ 0 h 70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8" h="706">
                        <a:moveTo>
                          <a:pt x="12" y="0"/>
                        </a:moveTo>
                        <a:lnTo>
                          <a:pt x="0" y="706"/>
                        </a:lnTo>
                        <a:lnTo>
                          <a:pt x="12" y="706"/>
                        </a:lnTo>
                        <a:lnTo>
                          <a:pt x="28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7" name="Freeform 288"/>
                  <p:cNvSpPr>
                    <a:spLocks/>
                  </p:cNvSpPr>
                  <p:nvPr/>
                </p:nvSpPr>
                <p:spPr bwMode="auto">
                  <a:xfrm rot="2716992">
                    <a:off x="1222407" y="2842433"/>
                    <a:ext cx="1210800" cy="792839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7" name="Group 20"/>
              <p:cNvGrpSpPr>
                <a:grpSpLocks/>
              </p:cNvGrpSpPr>
              <p:nvPr userDrawn="1"/>
            </p:nvGrpSpPr>
            <p:grpSpPr bwMode="auto">
              <a:xfrm>
                <a:off x="2846332" y="3737373"/>
                <a:ext cx="379188" cy="379174"/>
                <a:chOff x="3825687" y="3454603"/>
                <a:chExt cx="444977" cy="446441"/>
              </a:xfrm>
            </p:grpSpPr>
            <p:sp>
              <p:nvSpPr>
                <p:cNvPr id="127" name="Oval 12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8" name="Group 64"/>
              <p:cNvGrpSpPr>
                <a:grpSpLocks/>
              </p:cNvGrpSpPr>
              <p:nvPr userDrawn="1"/>
            </p:nvGrpSpPr>
            <p:grpSpPr bwMode="auto">
              <a:xfrm>
                <a:off x="2562954" y="2860279"/>
                <a:ext cx="379188" cy="379174"/>
                <a:chOff x="3825687" y="3454603"/>
                <a:chExt cx="444977" cy="446441"/>
              </a:xfrm>
            </p:grpSpPr>
            <p:sp>
              <p:nvSpPr>
                <p:cNvPr id="125" name="Oval 124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9" name="Group 67"/>
              <p:cNvGrpSpPr>
                <a:grpSpLocks/>
              </p:cNvGrpSpPr>
              <p:nvPr userDrawn="1"/>
            </p:nvGrpSpPr>
            <p:grpSpPr bwMode="auto">
              <a:xfrm>
                <a:off x="1785689" y="2381250"/>
                <a:ext cx="379188" cy="379175"/>
                <a:chOff x="3825687" y="3454603"/>
                <a:chExt cx="444977" cy="446441"/>
              </a:xfrm>
            </p:grpSpPr>
            <p:sp>
              <p:nvSpPr>
                <p:cNvPr id="123" name="Oval 12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0" name="Group 70"/>
              <p:cNvGrpSpPr>
                <a:grpSpLocks/>
              </p:cNvGrpSpPr>
              <p:nvPr userDrawn="1"/>
            </p:nvGrpSpPr>
            <p:grpSpPr bwMode="auto">
              <a:xfrm>
                <a:off x="1065100" y="2742883"/>
                <a:ext cx="377837" cy="380524"/>
                <a:chOff x="3825687" y="3454603"/>
                <a:chExt cx="444977" cy="446441"/>
              </a:xfrm>
            </p:grpSpPr>
            <p:sp>
              <p:nvSpPr>
                <p:cNvPr id="121" name="Oval 12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1" name="Group 73"/>
              <p:cNvGrpSpPr>
                <a:grpSpLocks/>
              </p:cNvGrpSpPr>
              <p:nvPr userDrawn="1"/>
            </p:nvGrpSpPr>
            <p:grpSpPr bwMode="auto">
              <a:xfrm>
                <a:off x="474054" y="355116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9" name="Oval 118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2" name="Group 76"/>
              <p:cNvGrpSpPr>
                <a:grpSpLocks/>
              </p:cNvGrpSpPr>
              <p:nvPr userDrawn="1"/>
            </p:nvGrpSpPr>
            <p:grpSpPr bwMode="auto">
              <a:xfrm>
                <a:off x="495644" y="4397216"/>
                <a:ext cx="377837" cy="379175"/>
                <a:chOff x="3825687" y="3454603"/>
                <a:chExt cx="444977" cy="446441"/>
              </a:xfrm>
            </p:grpSpPr>
            <p:sp>
              <p:nvSpPr>
                <p:cNvPr id="117" name="Oval 11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3" name="Group 79"/>
              <p:cNvGrpSpPr>
                <a:grpSpLocks/>
              </p:cNvGrpSpPr>
              <p:nvPr userDrawn="1"/>
            </p:nvGrpSpPr>
            <p:grpSpPr bwMode="auto">
              <a:xfrm>
                <a:off x="2423966" y="456589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3" name="Oval 11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4" name="Group 82"/>
              <p:cNvGrpSpPr>
                <a:grpSpLocks/>
              </p:cNvGrpSpPr>
              <p:nvPr userDrawn="1"/>
            </p:nvGrpSpPr>
            <p:grpSpPr bwMode="auto">
              <a:xfrm>
                <a:off x="1274260" y="5109686"/>
                <a:ext cx="379186" cy="379175"/>
                <a:chOff x="3825687" y="3454603"/>
                <a:chExt cx="444977" cy="446441"/>
              </a:xfrm>
            </p:grpSpPr>
            <p:sp>
              <p:nvSpPr>
                <p:cNvPr id="111" name="Oval 11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5" name="Group 85"/>
              <p:cNvGrpSpPr>
                <a:grpSpLocks/>
              </p:cNvGrpSpPr>
              <p:nvPr/>
            </p:nvGrpSpPr>
            <p:grpSpPr bwMode="auto">
              <a:xfrm>
                <a:off x="1175752" y="3688796"/>
                <a:ext cx="634227" cy="634206"/>
                <a:chOff x="3779912" y="2492896"/>
                <a:chExt cx="444821" cy="444821"/>
              </a:xfrm>
            </p:grpSpPr>
            <p:sp>
              <p:nvSpPr>
                <p:cNvPr id="109" name="Oval 108"/>
                <p:cNvSpPr/>
                <p:nvPr/>
              </p:nvSpPr>
              <p:spPr>
                <a:xfrm>
                  <a:off x="3779912" y="2492896"/>
                  <a:ext cx="444821" cy="4448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83"/>
                <p:cNvSpPr>
                  <a:spLocks/>
                </p:cNvSpPr>
                <p:nvPr/>
              </p:nvSpPr>
              <p:spPr bwMode="auto">
                <a:xfrm>
                  <a:off x="3784041" y="2496231"/>
                  <a:ext cx="436563" cy="438150"/>
                </a:xfrm>
                <a:custGeom>
                  <a:avLst/>
                  <a:gdLst>
                    <a:gd name="T0" fmla="*/ 2147483647 w 305"/>
                    <a:gd name="T1" fmla="*/ 2147483647 h 305"/>
                    <a:gd name="T2" fmla="*/ 2147483647 w 305"/>
                    <a:gd name="T3" fmla="*/ 2147483647 h 305"/>
                    <a:gd name="T4" fmla="*/ 2147483647 w 305"/>
                    <a:gd name="T5" fmla="*/ 2147483647 h 305"/>
                    <a:gd name="T6" fmla="*/ 2147483647 w 305"/>
                    <a:gd name="T7" fmla="*/ 2147483647 h 305"/>
                    <a:gd name="T8" fmla="*/ 2147483647 w 305"/>
                    <a:gd name="T9" fmla="*/ 2147483647 h 3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5" h="305">
                      <a:moveTo>
                        <a:pt x="22" y="112"/>
                      </a:moveTo>
                      <a:cubicBezTo>
                        <a:pt x="45" y="40"/>
                        <a:pt x="121" y="0"/>
                        <a:pt x="193" y="22"/>
                      </a:cubicBezTo>
                      <a:cubicBezTo>
                        <a:pt x="265" y="45"/>
                        <a:pt x="305" y="121"/>
                        <a:pt x="283" y="193"/>
                      </a:cubicBezTo>
                      <a:cubicBezTo>
                        <a:pt x="260" y="265"/>
                        <a:pt x="184" y="305"/>
                        <a:pt x="112" y="283"/>
                      </a:cubicBezTo>
                      <a:cubicBezTo>
                        <a:pt x="40" y="260"/>
                        <a:pt x="0" y="184"/>
                        <a:pt x="22" y="112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</p:grpSp>
        <p:sp>
          <p:nvSpPr>
            <p:cNvPr id="95" name="Rectangle 94"/>
            <p:cNvSpPr/>
            <p:nvPr userDrawn="1"/>
          </p:nvSpPr>
          <p:spPr>
            <a:xfrm rot="18681383">
              <a:off x="678880" y="2054942"/>
              <a:ext cx="5925301" cy="108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1286407" y="3795711"/>
            <a:ext cx="367268" cy="378474"/>
            <a:chOff x="1268525" y="2494901"/>
            <a:chExt cx="762973" cy="786252"/>
          </a:xfrm>
        </p:grpSpPr>
        <p:sp>
          <p:nvSpPr>
            <p:cNvPr id="185" name="Freeform 99"/>
            <p:cNvSpPr>
              <a:spLocks noEditPoints="1"/>
            </p:cNvSpPr>
            <p:nvPr/>
          </p:nvSpPr>
          <p:spPr bwMode="auto">
            <a:xfrm>
              <a:off x="1296778" y="2828635"/>
              <a:ext cx="678199" cy="452518"/>
            </a:xfrm>
            <a:custGeom>
              <a:avLst/>
              <a:gdLst>
                <a:gd name="T0" fmla="*/ 2147483647 w 133"/>
                <a:gd name="T1" fmla="*/ 2147483647 h 88"/>
                <a:gd name="T2" fmla="*/ 2147483647 w 133"/>
                <a:gd name="T3" fmla="*/ 2147483647 h 88"/>
                <a:gd name="T4" fmla="*/ 0 w 133"/>
                <a:gd name="T5" fmla="*/ 2147483647 h 88"/>
                <a:gd name="T6" fmla="*/ 2147483647 w 133"/>
                <a:gd name="T7" fmla="*/ 2147483647 h 88"/>
                <a:gd name="T8" fmla="*/ 2147483647 w 133"/>
                <a:gd name="T9" fmla="*/ 2147483647 h 88"/>
                <a:gd name="T10" fmla="*/ 2147483647 w 133"/>
                <a:gd name="T11" fmla="*/ 2147483647 h 88"/>
                <a:gd name="T12" fmla="*/ 2147483647 w 133"/>
                <a:gd name="T13" fmla="*/ 2147483647 h 88"/>
                <a:gd name="T14" fmla="*/ 2147483647 w 133"/>
                <a:gd name="T15" fmla="*/ 0 h 88"/>
                <a:gd name="T16" fmla="*/ 2147483647 w 133"/>
                <a:gd name="T17" fmla="*/ 0 h 88"/>
                <a:gd name="T18" fmla="*/ 2147483647 w 133"/>
                <a:gd name="T19" fmla="*/ 2147483647 h 88"/>
                <a:gd name="T20" fmla="*/ 2147483647 w 133"/>
                <a:gd name="T21" fmla="*/ 2147483647 h 88"/>
                <a:gd name="T22" fmla="*/ 2147483647 w 133"/>
                <a:gd name="T23" fmla="*/ 2147483647 h 88"/>
                <a:gd name="T24" fmla="*/ 2147483647 w 133"/>
                <a:gd name="T25" fmla="*/ 2147483647 h 88"/>
                <a:gd name="T26" fmla="*/ 2147483647 w 133"/>
                <a:gd name="T27" fmla="*/ 2147483647 h 88"/>
                <a:gd name="T28" fmla="*/ 2147483647 w 133"/>
                <a:gd name="T29" fmla="*/ 2147483647 h 88"/>
                <a:gd name="T30" fmla="*/ 2147483647 w 133"/>
                <a:gd name="T31" fmla="*/ 2147483647 h 88"/>
                <a:gd name="T32" fmla="*/ 2147483647 w 133"/>
                <a:gd name="T33" fmla="*/ 2147483647 h 88"/>
                <a:gd name="T34" fmla="*/ 2147483647 w 133"/>
                <a:gd name="T35" fmla="*/ 2147483647 h 88"/>
                <a:gd name="T36" fmla="*/ 2147483647 w 133"/>
                <a:gd name="T37" fmla="*/ 2147483647 h 88"/>
                <a:gd name="T38" fmla="*/ 2147483647 w 133"/>
                <a:gd name="T39" fmla="*/ 2147483647 h 88"/>
                <a:gd name="T40" fmla="*/ 2147483647 w 133"/>
                <a:gd name="T41" fmla="*/ 2147483647 h 88"/>
                <a:gd name="T42" fmla="*/ 2147483647 w 133"/>
                <a:gd name="T43" fmla="*/ 2147483647 h 88"/>
                <a:gd name="T44" fmla="*/ 2147483647 w 133"/>
                <a:gd name="T45" fmla="*/ 2147483647 h 88"/>
                <a:gd name="T46" fmla="*/ 2147483647 w 133"/>
                <a:gd name="T47" fmla="*/ 2147483647 h 88"/>
                <a:gd name="T48" fmla="*/ 2147483647 w 133"/>
                <a:gd name="T49" fmla="*/ 2147483647 h 88"/>
                <a:gd name="T50" fmla="*/ 2147483647 w 133"/>
                <a:gd name="T51" fmla="*/ 2147483647 h 88"/>
                <a:gd name="T52" fmla="*/ 2147483647 w 133"/>
                <a:gd name="T53" fmla="*/ 2147483647 h 88"/>
                <a:gd name="T54" fmla="*/ 2147483647 w 133"/>
                <a:gd name="T55" fmla="*/ 2147483647 h 88"/>
                <a:gd name="T56" fmla="*/ 2147483647 w 133"/>
                <a:gd name="T57" fmla="*/ 2147483647 h 88"/>
                <a:gd name="T58" fmla="*/ 2147483647 w 133"/>
                <a:gd name="T59" fmla="*/ 2147483647 h 88"/>
                <a:gd name="T60" fmla="*/ 2147483647 w 133"/>
                <a:gd name="T61" fmla="*/ 2147483647 h 88"/>
                <a:gd name="T62" fmla="*/ 2147483647 w 133"/>
                <a:gd name="T63" fmla="*/ 2147483647 h 88"/>
                <a:gd name="T64" fmla="*/ 2147483647 w 133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33" h="88">
                  <a:moveTo>
                    <a:pt x="26" y="77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3" y="19"/>
                    <a:pt x="5" y="19"/>
                    <a:pt x="6" y="1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8" y="9"/>
                    <a:pt x="129" y="9"/>
                    <a:pt x="130" y="9"/>
                  </a:cubicBezTo>
                  <a:cubicBezTo>
                    <a:pt x="131" y="9"/>
                    <a:pt x="132" y="9"/>
                    <a:pt x="133" y="9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77"/>
                    <a:pt x="3" y="77"/>
                    <a:pt x="3" y="77"/>
                  </a:cubicBezTo>
                  <a:lnTo>
                    <a:pt x="26" y="77"/>
                  </a:lnTo>
                  <a:close/>
                  <a:moveTo>
                    <a:pt x="94" y="77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94" y="77"/>
                  </a:lnTo>
                  <a:close/>
                  <a:moveTo>
                    <a:pt x="80" y="43"/>
                  </a:moveTo>
                  <a:cubicBezTo>
                    <a:pt x="69" y="14"/>
                    <a:pt x="69" y="14"/>
                    <a:pt x="69" y="14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6" y="31"/>
                    <a:pt x="56" y="31"/>
                    <a:pt x="56" y="31"/>
                  </a:cubicBezTo>
                  <a:lnTo>
                    <a:pt x="80" y="43"/>
                  </a:lnTo>
                  <a:close/>
                  <a:moveTo>
                    <a:pt x="54" y="36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83" y="50"/>
                    <a:pt x="83" y="50"/>
                    <a:pt x="83" y="50"/>
                  </a:cubicBezTo>
                  <a:lnTo>
                    <a:pt x="54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6" name="Freeform 100"/>
            <p:cNvSpPr>
              <a:spLocks noEditPoints="1"/>
            </p:cNvSpPr>
            <p:nvPr/>
          </p:nvSpPr>
          <p:spPr bwMode="auto">
            <a:xfrm>
              <a:off x="1844991" y="2494901"/>
              <a:ext cx="186507" cy="373327"/>
            </a:xfrm>
            <a:custGeom>
              <a:avLst/>
              <a:gdLst>
                <a:gd name="T0" fmla="*/ 2147483647 w 37"/>
                <a:gd name="T1" fmla="*/ 2147483647 h 74"/>
                <a:gd name="T2" fmla="*/ 2147483647 w 37"/>
                <a:gd name="T3" fmla="*/ 2147483647 h 74"/>
                <a:gd name="T4" fmla="*/ 2147483647 w 37"/>
                <a:gd name="T5" fmla="*/ 2147483647 h 74"/>
                <a:gd name="T6" fmla="*/ 2147483647 w 37"/>
                <a:gd name="T7" fmla="*/ 2147483647 h 74"/>
                <a:gd name="T8" fmla="*/ 2147483647 w 37"/>
                <a:gd name="T9" fmla="*/ 2147483647 h 74"/>
                <a:gd name="T10" fmla="*/ 2147483647 w 37"/>
                <a:gd name="T11" fmla="*/ 2147483647 h 74"/>
                <a:gd name="T12" fmla="*/ 2147483647 w 37"/>
                <a:gd name="T13" fmla="*/ 2147483647 h 74"/>
                <a:gd name="T14" fmla="*/ 2147483647 w 37"/>
                <a:gd name="T15" fmla="*/ 2147483647 h 74"/>
                <a:gd name="T16" fmla="*/ 2147483647 w 37"/>
                <a:gd name="T17" fmla="*/ 2147483647 h 74"/>
                <a:gd name="T18" fmla="*/ 2147483647 w 37"/>
                <a:gd name="T19" fmla="*/ 2147483647 h 74"/>
                <a:gd name="T20" fmla="*/ 2147483647 w 37"/>
                <a:gd name="T21" fmla="*/ 2147483647 h 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7" h="74">
                  <a:moveTo>
                    <a:pt x="26" y="72"/>
                  </a:moveTo>
                  <a:cubicBezTo>
                    <a:pt x="19" y="74"/>
                    <a:pt x="17" y="70"/>
                    <a:pt x="15" y="65"/>
                  </a:cubicBezTo>
                  <a:cubicBezTo>
                    <a:pt x="11" y="52"/>
                    <a:pt x="6" y="38"/>
                    <a:pt x="2" y="24"/>
                  </a:cubicBezTo>
                  <a:cubicBezTo>
                    <a:pt x="0" y="17"/>
                    <a:pt x="4" y="9"/>
                    <a:pt x="11" y="7"/>
                  </a:cubicBezTo>
                  <a:cubicBezTo>
                    <a:pt x="37" y="0"/>
                    <a:pt x="36" y="42"/>
                    <a:pt x="32" y="59"/>
                  </a:cubicBezTo>
                  <a:cubicBezTo>
                    <a:pt x="31" y="66"/>
                    <a:pt x="28" y="71"/>
                    <a:pt x="26" y="72"/>
                  </a:cubicBezTo>
                  <a:close/>
                  <a:moveTo>
                    <a:pt x="17" y="14"/>
                  </a:moveTo>
                  <a:cubicBezTo>
                    <a:pt x="22" y="14"/>
                    <a:pt x="26" y="18"/>
                    <a:pt x="26" y="23"/>
                  </a:cubicBezTo>
                  <a:cubicBezTo>
                    <a:pt x="26" y="28"/>
                    <a:pt x="22" y="32"/>
                    <a:pt x="17" y="32"/>
                  </a:cubicBezTo>
                  <a:cubicBezTo>
                    <a:pt x="12" y="32"/>
                    <a:pt x="8" y="28"/>
                    <a:pt x="8" y="23"/>
                  </a:cubicBezTo>
                  <a:cubicBezTo>
                    <a:pt x="8" y="18"/>
                    <a:pt x="12" y="14"/>
                    <a:pt x="1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7" name="Freeform 101"/>
            <p:cNvSpPr>
              <a:spLocks/>
            </p:cNvSpPr>
            <p:nvPr/>
          </p:nvSpPr>
          <p:spPr bwMode="auto">
            <a:xfrm>
              <a:off x="1268525" y="2664584"/>
              <a:ext cx="655593" cy="248885"/>
            </a:xfrm>
            <a:custGeom>
              <a:avLst/>
              <a:gdLst>
                <a:gd name="T0" fmla="*/ 2147483647 w 129"/>
                <a:gd name="T1" fmla="*/ 2147483647 h 48"/>
                <a:gd name="T2" fmla="*/ 2147483647 w 129"/>
                <a:gd name="T3" fmla="*/ 2147483647 h 48"/>
                <a:gd name="T4" fmla="*/ 2147483647 w 129"/>
                <a:gd name="T5" fmla="*/ 2147483647 h 48"/>
                <a:gd name="T6" fmla="*/ 2147483647 w 129"/>
                <a:gd name="T7" fmla="*/ 2147483647 h 48"/>
                <a:gd name="T8" fmla="*/ 2147483647 w 129"/>
                <a:gd name="T9" fmla="*/ 2147483647 h 48"/>
                <a:gd name="T10" fmla="*/ 2147483647 w 129"/>
                <a:gd name="T11" fmla="*/ 2147483647 h 48"/>
                <a:gd name="T12" fmla="*/ 2147483647 w 129"/>
                <a:gd name="T13" fmla="*/ 2147483647 h 48"/>
                <a:gd name="T14" fmla="*/ 2147483647 w 129"/>
                <a:gd name="T15" fmla="*/ 2147483647 h 48"/>
                <a:gd name="T16" fmla="*/ 2147483647 w 129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9" h="48">
                  <a:moveTo>
                    <a:pt x="4" y="34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4" y="0"/>
                    <a:pt x="127" y="1"/>
                    <a:pt x="128" y="4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9" y="10"/>
                    <a:pt x="128" y="13"/>
                    <a:pt x="125" y="1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5" y="48"/>
                    <a:pt x="2" y="47"/>
                    <a:pt x="2" y="44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38"/>
                    <a:pt x="2" y="35"/>
                    <a:pt x="4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020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slideLayout" Target="../slideLayouts/slideLayout8.xml"/><Relationship Id="rId7" Type="http://schemas.openxmlformats.org/officeDocument/2006/relationships/slideLayout" Target="../slideLayouts/slideLayout9.xml"/><Relationship Id="rId8" Type="http://schemas.openxmlformats.org/officeDocument/2006/relationships/slideLayout" Target="../slideLayouts/slideLayout10.xml"/><Relationship Id="rId9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4.vml"/><Relationship Id="rId6" Type="http://schemas.openxmlformats.org/officeDocument/2006/relationships/tags" Target="../tags/tag7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30800197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04" name="think-cell Slide" r:id="rId6" imgW="463" imgH="464" progId="TCLayout.ActiveDocument.1">
                  <p:embed/>
                </p:oleObj>
              </mc:Choice>
              <mc:Fallback>
                <p:oleObj name="think-cell Slide" r:id="rId6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6897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104" y="1182102"/>
            <a:ext cx="8205805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104" y="12"/>
            <a:ext cx="8205805" cy="1081583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0358" y="1143001"/>
            <a:ext cx="8389643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847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1801" b="1" kern="1200" spc="0" baseline="0" dirty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7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54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81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908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36968" indent="-13696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37059" indent="-200092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469263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tabLst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674118" indent="-204855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806322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998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71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43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815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45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17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8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6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34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906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7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93" name="think-cell Slide" r:id="rId7" imgW="463" imgH="464" progId="TCLayout.ActiveDocument.1">
                  <p:embed/>
                </p:oleObj>
              </mc:Choice>
              <mc:Fallback>
                <p:oleObj name="think-cell Slide" r:id="rId7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35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1041009" y="2396269"/>
            <a:ext cx="8018582" cy="914400"/>
          </a:xfrm>
          <a:prstGeom prst="rect">
            <a:avLst/>
          </a:prstGeo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500" b="0" i="0" kern="1200" cap="small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zh-CN" altLang="en-US" sz="3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营决策分析平台项目</a:t>
            </a: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3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体架构</a:t>
            </a: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197799" y="4003472"/>
            <a:ext cx="149111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stelsSmoot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7598" b="12736"/>
          <a:stretch/>
        </p:blipFill>
        <p:spPr>
          <a:xfrm>
            <a:off x="0" y="4711358"/>
            <a:ext cx="9144000" cy="2135170"/>
          </a:xfrm>
          <a:prstGeom prst="rect">
            <a:avLst/>
          </a:prstGeom>
          <a:gradFill>
            <a:gsLst>
              <a:gs pos="78000">
                <a:srgbClr val="CCACE1">
                  <a:alpha val="34000"/>
                </a:srgbClr>
              </a:gs>
              <a:gs pos="100000">
                <a:srgbClr val="9999FF">
                  <a:alpha val="17000"/>
                </a:srgbClr>
              </a:gs>
              <a:gs pos="0">
                <a:schemeClr val="bg1">
                  <a:lumMod val="95000"/>
                  <a:alpha val="0"/>
                </a:schemeClr>
              </a:gs>
              <a:gs pos="41000">
                <a:schemeClr val="bg1">
                  <a:lumMod val="75000"/>
                  <a:alpha val="16000"/>
                </a:schemeClr>
              </a:gs>
              <a:gs pos="62000">
                <a:schemeClr val="bg2">
                  <a:lumMod val="20000"/>
                  <a:lumOff val="80000"/>
                  <a:alpha val="17000"/>
                </a:schemeClr>
              </a:gs>
            </a:gsLst>
            <a:lin ang="16200000" scaled="1"/>
          </a:gradFill>
          <a:effectLst/>
        </p:spPr>
      </p:pic>
    </p:spTree>
    <p:extLst>
      <p:ext uri="{BB962C8B-B14F-4D97-AF65-F5344CB8AC3E}">
        <p14:creationId xmlns:p14="http://schemas.microsoft.com/office/powerpoint/2010/main" val="43945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矩形 129"/>
          <p:cNvSpPr/>
          <p:nvPr/>
        </p:nvSpPr>
        <p:spPr>
          <a:xfrm>
            <a:off x="553302" y="4288707"/>
            <a:ext cx="7720733" cy="255710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41895" y="1456134"/>
            <a:ext cx="7720733" cy="2771495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4684" y="126435"/>
            <a:ext cx="6522862" cy="546101"/>
          </a:xfrm>
        </p:spPr>
        <p:txBody>
          <a:bodyPr>
            <a:noAutofit/>
          </a:bodyPr>
          <a:lstStyle/>
          <a:p>
            <a:r>
              <a:rPr lang="zh-CN" altLang="en-US" dirty="0" smtClean="0"/>
              <a:t>平台总体架构设计</a:t>
            </a:r>
            <a:endParaRPr lang="zh-CN" altLang="en-US" sz="2400" dirty="0"/>
          </a:p>
        </p:txBody>
      </p:sp>
      <p:grpSp>
        <p:nvGrpSpPr>
          <p:cNvPr id="18" name="组合 17"/>
          <p:cNvGrpSpPr/>
          <p:nvPr/>
        </p:nvGrpSpPr>
        <p:grpSpPr>
          <a:xfrm>
            <a:off x="1875870" y="1192340"/>
            <a:ext cx="4287058" cy="271330"/>
            <a:chOff x="1744962" y="1398725"/>
            <a:chExt cx="4287058" cy="271330"/>
          </a:xfrm>
        </p:grpSpPr>
        <p:sp>
          <p:nvSpPr>
            <p:cNvPr id="113" name="圆角矩形 112"/>
            <p:cNvSpPr/>
            <p:nvPr/>
          </p:nvSpPr>
          <p:spPr>
            <a:xfrm>
              <a:off x="1744962" y="1399323"/>
              <a:ext cx="972000" cy="25200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高管</a:t>
              </a:r>
            </a:p>
          </p:txBody>
        </p:sp>
        <p:sp>
          <p:nvSpPr>
            <p:cNvPr id="114" name="圆角矩形 113"/>
            <p:cNvSpPr/>
            <p:nvPr/>
          </p:nvSpPr>
          <p:spPr>
            <a:xfrm>
              <a:off x="2916491" y="1398725"/>
              <a:ext cx="972000" cy="25200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管理</a:t>
              </a:r>
            </a:p>
          </p:txBody>
        </p:sp>
        <p:sp>
          <p:nvSpPr>
            <p:cNvPr id="115" name="圆角矩形 114"/>
            <p:cNvSpPr/>
            <p:nvPr/>
          </p:nvSpPr>
          <p:spPr>
            <a:xfrm>
              <a:off x="5060020" y="1418055"/>
              <a:ext cx="972000" cy="25200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执行</a:t>
              </a:r>
            </a:p>
          </p:txBody>
        </p:sp>
      </p:grpSp>
      <p:sp>
        <p:nvSpPr>
          <p:cNvPr id="117" name="标题 1"/>
          <p:cNvSpPr txBox="1">
            <a:spLocks/>
          </p:cNvSpPr>
          <p:nvPr/>
        </p:nvSpPr>
        <p:spPr>
          <a:xfrm>
            <a:off x="174829" y="907144"/>
            <a:ext cx="8435235" cy="266105"/>
          </a:xfrm>
          <a:prstGeom prst="rect">
            <a:avLst/>
          </a:prstGeom>
          <a:solidFill>
            <a:srgbClr val="C00000"/>
          </a:solidFill>
        </p:spPr>
        <p:txBody>
          <a:bodyPr anchor="ctr" anchorCtr="0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algn="ctr"/>
            <a:r>
              <a:rPr lang="zh-CN" altLang="en-US" sz="1400" b="0" dirty="0">
                <a:solidFill>
                  <a:schemeClr val="bg1"/>
                </a:solidFill>
              </a:rPr>
              <a:t>面向公司高管，聚焦关键业务维度</a:t>
            </a:r>
            <a:r>
              <a:rPr lang="zh-CN" altLang="en-US" sz="1400" b="0" dirty="0" smtClean="0">
                <a:solidFill>
                  <a:schemeClr val="bg1"/>
                </a:solidFill>
              </a:rPr>
              <a:t>，辅助决策管理</a:t>
            </a:r>
            <a:endParaRPr lang="zh-CN" altLang="en-US" sz="1400" b="0" dirty="0">
              <a:solidFill>
                <a:schemeClr val="bg1"/>
              </a:solidFill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1000231" y="1452216"/>
            <a:ext cx="7231661" cy="2726189"/>
            <a:chOff x="1424463" y="1694591"/>
            <a:chExt cx="7231661" cy="2726189"/>
          </a:xfrm>
        </p:grpSpPr>
        <p:sp>
          <p:nvSpPr>
            <p:cNvPr id="5" name="Rectangle 4"/>
            <p:cNvSpPr/>
            <p:nvPr/>
          </p:nvSpPr>
          <p:spPr>
            <a:xfrm>
              <a:off x="1424463" y="1698378"/>
              <a:ext cx="7231661" cy="272240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472102" y="3269706"/>
              <a:ext cx="7184022" cy="10789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1487745" y="3366981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分析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Rounded Rectangle 98"/>
            <p:cNvSpPr/>
            <p:nvPr/>
          </p:nvSpPr>
          <p:spPr>
            <a:xfrm>
              <a:off x="3581220" y="3292455"/>
              <a:ext cx="1171043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土地资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Rounded Rectangle 99"/>
            <p:cNvSpPr/>
            <p:nvPr/>
          </p:nvSpPr>
          <p:spPr>
            <a:xfrm>
              <a:off x="4827622" y="3292455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营管控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Rounded Rectangle 100"/>
            <p:cNvSpPr/>
            <p:nvPr/>
          </p:nvSpPr>
          <p:spPr>
            <a:xfrm>
              <a:off x="6006542" y="3292455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力资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TextBox 102"/>
            <p:cNvSpPr txBox="1"/>
            <p:nvPr/>
          </p:nvSpPr>
          <p:spPr>
            <a:xfrm>
              <a:off x="7354417" y="3707362"/>
              <a:ext cx="4087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  <p:grpSp>
          <p:nvGrpSpPr>
            <p:cNvPr id="24" name="Group 110"/>
            <p:cNvGrpSpPr/>
            <p:nvPr/>
          </p:nvGrpSpPr>
          <p:grpSpPr>
            <a:xfrm>
              <a:off x="6066192" y="3540403"/>
              <a:ext cx="982611" cy="704589"/>
              <a:chOff x="3350290" y="3020614"/>
              <a:chExt cx="865469" cy="747956"/>
            </a:xfrm>
          </p:grpSpPr>
          <p:sp>
            <p:nvSpPr>
              <p:cNvPr id="56" name="Rectangle 111"/>
              <p:cNvSpPr/>
              <p:nvPr/>
            </p:nvSpPr>
            <p:spPr>
              <a:xfrm>
                <a:off x="3351758" y="3020614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组织发展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7" name="Rectangle 112"/>
              <p:cNvSpPr/>
              <p:nvPr/>
            </p:nvSpPr>
            <p:spPr>
              <a:xfrm>
                <a:off x="3351758" y="3243192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常青藤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8" name="Rectangle 113"/>
              <p:cNvSpPr/>
              <p:nvPr/>
            </p:nvSpPr>
            <p:spPr>
              <a:xfrm>
                <a:off x="3350290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离职预警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TextBox 114"/>
              <p:cNvSpPr txBox="1"/>
              <p:nvPr/>
            </p:nvSpPr>
            <p:spPr>
              <a:xfrm>
                <a:off x="3603758" y="3539866"/>
                <a:ext cx="359998" cy="2287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grpSp>
          <p:nvGrpSpPr>
            <p:cNvPr id="25" name="Group 115"/>
            <p:cNvGrpSpPr/>
            <p:nvPr/>
          </p:nvGrpSpPr>
          <p:grpSpPr>
            <a:xfrm>
              <a:off x="3674167" y="3540399"/>
              <a:ext cx="980941" cy="712426"/>
              <a:chOff x="3316848" y="3020614"/>
              <a:chExt cx="864000" cy="756275"/>
            </a:xfrm>
          </p:grpSpPr>
          <p:sp>
            <p:nvSpPr>
              <p:cNvPr id="52" name="Rectangle 116"/>
              <p:cNvSpPr/>
              <p:nvPr/>
            </p:nvSpPr>
            <p:spPr>
              <a:xfrm>
                <a:off x="3316848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标批复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Rectangle 117"/>
              <p:cNvSpPr/>
              <p:nvPr/>
            </p:nvSpPr>
            <p:spPr>
              <a:xfrm>
                <a:off x="3316848" y="3243192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新增有效房源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Rectangle 118"/>
              <p:cNvSpPr/>
              <p:nvPr/>
            </p:nvSpPr>
            <p:spPr>
              <a:xfrm>
                <a:off x="3316848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配套取地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TextBox 119"/>
              <p:cNvSpPr txBox="1"/>
              <p:nvPr/>
            </p:nvSpPr>
            <p:spPr>
              <a:xfrm>
                <a:off x="3639575" y="3548185"/>
                <a:ext cx="360000" cy="22870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grpSp>
          <p:nvGrpSpPr>
            <p:cNvPr id="26" name="Group 120"/>
            <p:cNvGrpSpPr/>
            <p:nvPr/>
          </p:nvGrpSpPr>
          <p:grpSpPr>
            <a:xfrm>
              <a:off x="4890826" y="3540399"/>
              <a:ext cx="980941" cy="712426"/>
              <a:chOff x="3351756" y="3020614"/>
              <a:chExt cx="864000" cy="756275"/>
            </a:xfrm>
          </p:grpSpPr>
          <p:sp>
            <p:nvSpPr>
              <p:cNvPr id="48" name="Rectangle 121"/>
              <p:cNvSpPr/>
              <p:nvPr/>
            </p:nvSpPr>
            <p:spPr>
              <a:xfrm>
                <a:off x="3351756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签约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Rectangle 122"/>
              <p:cNvSpPr/>
              <p:nvPr/>
            </p:nvSpPr>
            <p:spPr>
              <a:xfrm>
                <a:off x="3351756" y="3243192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回款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0" name="Rectangle 123"/>
              <p:cNvSpPr/>
              <p:nvPr/>
            </p:nvSpPr>
            <p:spPr>
              <a:xfrm>
                <a:off x="3351756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利润分析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" name="TextBox 124"/>
              <p:cNvSpPr txBox="1"/>
              <p:nvPr/>
            </p:nvSpPr>
            <p:spPr>
              <a:xfrm>
                <a:off x="3686333" y="3548185"/>
                <a:ext cx="360000" cy="22870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35" name="Rounded Rectangle 98"/>
            <p:cNvSpPr/>
            <p:nvPr/>
          </p:nvSpPr>
          <p:spPr>
            <a:xfrm>
              <a:off x="2296250" y="3292455"/>
              <a:ext cx="1218887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发展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oup 115"/>
            <p:cNvGrpSpPr/>
            <p:nvPr/>
          </p:nvGrpSpPr>
          <p:grpSpPr>
            <a:xfrm>
              <a:off x="2351715" y="3557358"/>
              <a:ext cx="1157221" cy="664988"/>
              <a:chOff x="3243485" y="3020614"/>
              <a:chExt cx="1019264" cy="705918"/>
            </a:xfrm>
          </p:grpSpPr>
          <p:sp>
            <p:nvSpPr>
              <p:cNvPr id="44" name="Rectangle 116"/>
              <p:cNvSpPr/>
              <p:nvPr/>
            </p:nvSpPr>
            <p:spPr>
              <a:xfrm>
                <a:off x="3305788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签约落地投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Rectangle 117"/>
              <p:cNvSpPr/>
              <p:nvPr/>
            </p:nvSpPr>
            <p:spPr>
              <a:xfrm>
                <a:off x="3305630" y="3241157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模类龙头目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Rectangle 118"/>
              <p:cNvSpPr/>
              <p:nvPr/>
            </p:nvSpPr>
            <p:spPr>
              <a:xfrm>
                <a:off x="3243485" y="3456110"/>
                <a:ext cx="1019264" cy="1384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新类龙头项目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7" name="TextBox 119"/>
              <p:cNvSpPr txBox="1"/>
              <p:nvPr/>
            </p:nvSpPr>
            <p:spPr>
              <a:xfrm>
                <a:off x="3652093" y="3497827"/>
                <a:ext cx="360000" cy="22870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38" name="Rounded Rectangle 100"/>
            <p:cNvSpPr/>
            <p:nvPr/>
          </p:nvSpPr>
          <p:spPr>
            <a:xfrm>
              <a:off x="7187039" y="3287830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管理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9" name="Group 110"/>
            <p:cNvGrpSpPr/>
            <p:nvPr/>
          </p:nvGrpSpPr>
          <p:grpSpPr>
            <a:xfrm>
              <a:off x="7248354" y="3535778"/>
              <a:ext cx="985464" cy="704589"/>
              <a:chOff x="3351758" y="3020614"/>
              <a:chExt cx="867983" cy="747956"/>
            </a:xfrm>
          </p:grpSpPr>
          <p:sp>
            <p:nvSpPr>
              <p:cNvPr id="40" name="Rectangle 111"/>
              <p:cNvSpPr/>
              <p:nvPr/>
            </p:nvSpPr>
            <p:spPr>
              <a:xfrm>
                <a:off x="3351758" y="3020614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资产情况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Rectangle 112"/>
              <p:cNvSpPr/>
              <p:nvPr/>
            </p:nvSpPr>
            <p:spPr>
              <a:xfrm>
                <a:off x="3351758" y="3243192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帐实相符率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Rectangle 113"/>
              <p:cNvSpPr/>
              <p:nvPr/>
            </p:nvSpPr>
            <p:spPr>
              <a:xfrm>
                <a:off x="3355742" y="3464374"/>
                <a:ext cx="863999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盘点完成率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TextBox 114"/>
              <p:cNvSpPr txBox="1"/>
              <p:nvPr/>
            </p:nvSpPr>
            <p:spPr>
              <a:xfrm>
                <a:off x="3603758" y="3539866"/>
                <a:ext cx="359998" cy="2287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96" name="矩形 95"/>
            <p:cNvSpPr/>
            <p:nvPr/>
          </p:nvSpPr>
          <p:spPr>
            <a:xfrm>
              <a:off x="1456338" y="2465540"/>
              <a:ext cx="7189118" cy="761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99" name="矩形 98"/>
            <p:cNvSpPr/>
            <p:nvPr/>
          </p:nvSpPr>
          <p:spPr>
            <a:xfrm>
              <a:off x="1487866" y="2405119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应用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7" name="Picture 2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6203" y="2681407"/>
              <a:ext cx="1284970" cy="5077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TextBox 93"/>
            <p:cNvSpPr txBox="1"/>
            <p:nvPr/>
          </p:nvSpPr>
          <p:spPr>
            <a:xfrm>
              <a:off x="2252655" y="2456019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局战略驾驶舱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TextBox 93"/>
            <p:cNvSpPr txBox="1"/>
            <p:nvPr/>
          </p:nvSpPr>
          <p:spPr>
            <a:xfrm>
              <a:off x="3869357" y="2459293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管理看板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2807" y="2682364"/>
              <a:ext cx="1184046" cy="460945"/>
            </a:xfrm>
            <a:prstGeom prst="rect">
              <a:avLst/>
            </a:prstGeom>
          </p:spPr>
        </p:pic>
        <p:sp>
          <p:nvSpPr>
            <p:cNvPr id="104" name="TextBox 93"/>
            <p:cNvSpPr txBox="1"/>
            <p:nvPr/>
          </p:nvSpPr>
          <p:spPr>
            <a:xfrm>
              <a:off x="6794577" y="2450618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常业务报表</a:t>
              </a:r>
              <a:endParaRPr lang="en-US" altLang="zh-CN" sz="1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5" name="图片 10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91098" y="2681411"/>
              <a:ext cx="1263861" cy="479667"/>
            </a:xfrm>
            <a:prstGeom prst="rect">
              <a:avLst/>
            </a:prstGeom>
          </p:spPr>
        </p:pic>
        <p:sp>
          <p:nvSpPr>
            <p:cNvPr id="106" name="TextBox 94"/>
            <p:cNvSpPr txBox="1"/>
            <p:nvPr/>
          </p:nvSpPr>
          <p:spPr>
            <a:xfrm>
              <a:off x="5417800" y="2437834"/>
              <a:ext cx="120563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分析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矩形 108"/>
            <p:cNvSpPr/>
            <p:nvPr/>
          </p:nvSpPr>
          <p:spPr>
            <a:xfrm>
              <a:off x="1487865" y="1772499"/>
              <a:ext cx="7158223" cy="6653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110" name="矩形 109"/>
            <p:cNvSpPr/>
            <p:nvPr/>
          </p:nvSpPr>
          <p:spPr>
            <a:xfrm>
              <a:off x="1472102" y="1694591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访问展现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04800" y="2676530"/>
              <a:ext cx="1419964" cy="519277"/>
            </a:xfrm>
            <a:prstGeom prst="rect">
              <a:avLst/>
            </a:prstGeom>
          </p:spPr>
        </p:pic>
        <p:sp>
          <p:nvSpPr>
            <p:cNvPr id="121" name="Rectangle 34"/>
            <p:cNvSpPr/>
            <p:nvPr/>
          </p:nvSpPr>
          <p:spPr>
            <a:xfrm rot="2700000">
              <a:off x="7947442" y="1890810"/>
              <a:ext cx="720000" cy="3531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900"/>
              <a:r>
                <a:rPr lang="zh-CN" altLang="en-US" sz="1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期重点</a:t>
              </a:r>
              <a:endParaRPr 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Rounded Rectangle 100"/>
            <p:cNvSpPr/>
            <p:nvPr/>
          </p:nvSpPr>
          <p:spPr>
            <a:xfrm>
              <a:off x="4383761" y="1771949"/>
              <a:ext cx="2378930" cy="629547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6" name="TextBox 93"/>
            <p:cNvSpPr txBox="1"/>
            <p:nvPr/>
          </p:nvSpPr>
          <p:spPr>
            <a:xfrm>
              <a:off x="4580434" y="1730067"/>
              <a:ext cx="226678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900" dirty="0" smtClean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分析</a:t>
              </a:r>
              <a:endParaRPr lang="en-US" altLang="zh-CN" sz="9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27" name="Picture 3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9487" y="1914449"/>
              <a:ext cx="1271358" cy="44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" name="组合 7"/>
            <p:cNvGrpSpPr/>
            <p:nvPr/>
          </p:nvGrpSpPr>
          <p:grpSpPr>
            <a:xfrm>
              <a:off x="2195248" y="1764812"/>
              <a:ext cx="1676117" cy="671429"/>
              <a:chOff x="1452921" y="1740142"/>
              <a:chExt cx="1676117" cy="671429"/>
            </a:xfrm>
          </p:grpSpPr>
          <p:sp>
            <p:nvSpPr>
              <p:cNvPr id="112" name="Rounded Rectangle 100"/>
              <p:cNvSpPr/>
              <p:nvPr/>
            </p:nvSpPr>
            <p:spPr>
              <a:xfrm>
                <a:off x="1548754" y="1782024"/>
                <a:ext cx="1512092" cy="629547"/>
              </a:xfrm>
              <a:prstGeom prst="roundRect">
                <a:avLst>
                  <a:gd name="adj" fmla="val 7143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4" name="TextBox 93"/>
              <p:cNvSpPr txBox="1"/>
              <p:nvPr/>
            </p:nvSpPr>
            <p:spPr>
              <a:xfrm>
                <a:off x="1452921" y="1740142"/>
                <a:ext cx="167611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900" dirty="0" smtClean="0">
                    <a:solidFill>
                      <a:srgbClr val="B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管理分析</a:t>
                </a:r>
                <a:endParaRPr lang="en-US" altLang="zh-CN" sz="9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4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72941" y="1935869"/>
                <a:ext cx="1270607" cy="4445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7" name="组合 6"/>
          <p:cNvGrpSpPr/>
          <p:nvPr/>
        </p:nvGrpSpPr>
        <p:grpSpPr>
          <a:xfrm>
            <a:off x="1000231" y="4128142"/>
            <a:ext cx="7231661" cy="1722957"/>
            <a:chOff x="963655" y="4128142"/>
            <a:chExt cx="7231661" cy="1722957"/>
          </a:xfrm>
        </p:grpSpPr>
        <p:sp>
          <p:nvSpPr>
            <p:cNvPr id="129" name="矩形 128"/>
            <p:cNvSpPr/>
            <p:nvPr/>
          </p:nvSpPr>
          <p:spPr>
            <a:xfrm>
              <a:off x="963655" y="4303829"/>
              <a:ext cx="7231661" cy="1547270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49" name="组合 148"/>
            <p:cNvGrpSpPr/>
            <p:nvPr/>
          </p:nvGrpSpPr>
          <p:grpSpPr>
            <a:xfrm>
              <a:off x="2961428" y="4345639"/>
              <a:ext cx="2939535" cy="1437030"/>
              <a:chOff x="2841495" y="2211710"/>
              <a:chExt cx="2939535" cy="1512167"/>
            </a:xfrm>
          </p:grpSpPr>
          <p:sp>
            <p:nvSpPr>
              <p:cNvPr id="162" name="矩形 161"/>
              <p:cNvSpPr/>
              <p:nvPr/>
            </p:nvSpPr>
            <p:spPr>
              <a:xfrm>
                <a:off x="2841496" y="2211710"/>
                <a:ext cx="2939534" cy="151216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63" name="组合 162"/>
              <p:cNvGrpSpPr/>
              <p:nvPr/>
            </p:nvGrpSpPr>
            <p:grpSpPr>
              <a:xfrm>
                <a:off x="3170639" y="3003798"/>
                <a:ext cx="2264849" cy="665149"/>
                <a:chOff x="3115538" y="3243608"/>
                <a:chExt cx="2264849" cy="480269"/>
              </a:xfrm>
            </p:grpSpPr>
            <p:sp>
              <p:nvSpPr>
                <p:cNvPr id="172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3243608"/>
                  <a:ext cx="2264849" cy="480269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文本框 172"/>
                <p:cNvSpPr txBox="1"/>
                <p:nvPr/>
              </p:nvSpPr>
              <p:spPr>
                <a:xfrm>
                  <a:off x="3496564" y="3513415"/>
                  <a:ext cx="1706482" cy="1870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操作型数据存储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ODS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）</a:t>
                  </a:r>
                </a:p>
              </p:txBody>
            </p:sp>
          </p:grpSp>
          <p:grpSp>
            <p:nvGrpSpPr>
              <p:cNvPr id="164" name="组合 163"/>
              <p:cNvGrpSpPr/>
              <p:nvPr/>
            </p:nvGrpSpPr>
            <p:grpSpPr>
              <a:xfrm>
                <a:off x="3172045" y="2678122"/>
                <a:ext cx="2264849" cy="613708"/>
                <a:chOff x="3115538" y="2610642"/>
                <a:chExt cx="2264849" cy="613708"/>
              </a:xfrm>
            </p:grpSpPr>
            <p:sp>
              <p:nvSpPr>
                <p:cNvPr id="170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2610642"/>
                  <a:ext cx="2264849" cy="613708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文本框 170"/>
                <p:cNvSpPr txBox="1"/>
                <p:nvPr/>
              </p:nvSpPr>
              <p:spPr>
                <a:xfrm>
                  <a:off x="3488143" y="2939851"/>
                  <a:ext cx="1707268" cy="2590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历史明细数据存储区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DW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）</a:t>
                  </a:r>
                </a:p>
              </p:txBody>
            </p:sp>
          </p:grpSp>
          <p:grpSp>
            <p:nvGrpSpPr>
              <p:cNvPr id="165" name="组合 164"/>
              <p:cNvGrpSpPr/>
              <p:nvPr/>
            </p:nvGrpSpPr>
            <p:grpSpPr>
              <a:xfrm>
                <a:off x="3167960" y="2319993"/>
                <a:ext cx="2264849" cy="613708"/>
                <a:chOff x="3115538" y="2610642"/>
                <a:chExt cx="2264849" cy="613708"/>
              </a:xfrm>
            </p:grpSpPr>
            <p:sp>
              <p:nvSpPr>
                <p:cNvPr id="168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2610642"/>
                  <a:ext cx="2264849" cy="613708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文本框 168"/>
                <p:cNvSpPr txBox="1"/>
                <p:nvPr/>
              </p:nvSpPr>
              <p:spPr>
                <a:xfrm>
                  <a:off x="3440035" y="2948253"/>
                  <a:ext cx="1765690" cy="2590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高聚合应用数据集市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D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Ｍ）</a:t>
                  </a:r>
                </a:p>
              </p:txBody>
            </p:sp>
          </p:grpSp>
          <p:sp>
            <p:nvSpPr>
              <p:cNvPr id="166" name="文本框 165"/>
              <p:cNvSpPr txBox="1"/>
              <p:nvPr/>
            </p:nvSpPr>
            <p:spPr>
              <a:xfrm>
                <a:off x="2841495" y="2355726"/>
                <a:ext cx="294806" cy="13602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集中</a:t>
                </a:r>
                <a:r>
                  <a:rPr lang="zh-CN" altLang="en-US" sz="1000" dirty="0" smtClean="0">
                    <a:latin typeface="Arial" panose="020B0604020202020204" pitchFamily="34" charset="0"/>
                    <a:ea typeface="微软雅黑" panose="020B0503020204020204" pitchFamily="34" charset="-122"/>
                  </a:rPr>
                  <a:t>存储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仓库</a:t>
                </a:r>
              </a:p>
            </p:txBody>
          </p:sp>
          <p:sp>
            <p:nvSpPr>
              <p:cNvPr id="167" name="圆角矩形 166"/>
              <p:cNvSpPr/>
              <p:nvPr/>
            </p:nvSpPr>
            <p:spPr>
              <a:xfrm>
                <a:off x="5514994" y="2619520"/>
                <a:ext cx="231710" cy="88833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规范</a:t>
                </a:r>
                <a:endPara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5" name="文本框 154"/>
            <p:cNvSpPr txBox="1"/>
            <p:nvPr/>
          </p:nvSpPr>
          <p:spPr>
            <a:xfrm>
              <a:off x="1026937" y="4623999"/>
              <a:ext cx="300111" cy="672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存储层</a:t>
              </a:r>
            </a:p>
          </p:txBody>
        </p:sp>
        <p:grpSp>
          <p:nvGrpSpPr>
            <p:cNvPr id="88" name="组合 87"/>
            <p:cNvGrpSpPr/>
            <p:nvPr/>
          </p:nvGrpSpPr>
          <p:grpSpPr>
            <a:xfrm>
              <a:off x="6035775" y="4350140"/>
              <a:ext cx="2059158" cy="1437030"/>
              <a:chOff x="6078307" y="4350140"/>
              <a:chExt cx="2059158" cy="1437030"/>
            </a:xfrm>
          </p:grpSpPr>
          <p:sp>
            <p:nvSpPr>
              <p:cNvPr id="131" name="矩形 130"/>
              <p:cNvSpPr/>
              <p:nvPr/>
            </p:nvSpPr>
            <p:spPr>
              <a:xfrm>
                <a:off x="6078307" y="4350140"/>
                <a:ext cx="2059158" cy="143703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文本框 140"/>
              <p:cNvSpPr txBox="1"/>
              <p:nvPr/>
            </p:nvSpPr>
            <p:spPr>
              <a:xfrm>
                <a:off x="7769816" y="4471031"/>
                <a:ext cx="360040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数据质量管理</a:t>
                </a:r>
              </a:p>
            </p:txBody>
          </p:sp>
          <p:sp>
            <p:nvSpPr>
              <p:cNvPr id="144" name="流程图: 磁盘 143"/>
              <p:cNvSpPr/>
              <p:nvPr/>
            </p:nvSpPr>
            <p:spPr>
              <a:xfrm>
                <a:off x="6315586" y="4578627"/>
                <a:ext cx="1383047" cy="320955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库</a:t>
                </a:r>
              </a:p>
            </p:txBody>
          </p:sp>
          <p:sp>
            <p:nvSpPr>
              <p:cNvPr id="145" name="流程图: 磁盘 144"/>
              <p:cNvSpPr/>
              <p:nvPr/>
            </p:nvSpPr>
            <p:spPr>
              <a:xfrm>
                <a:off x="6315587" y="4966343"/>
                <a:ext cx="138304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缺陷库</a:t>
                </a:r>
              </a:p>
            </p:txBody>
          </p:sp>
          <p:sp>
            <p:nvSpPr>
              <p:cNvPr id="152" name="流程图: 磁盘 151"/>
              <p:cNvSpPr/>
              <p:nvPr/>
            </p:nvSpPr>
            <p:spPr>
              <a:xfrm>
                <a:off x="6315587" y="5327556"/>
                <a:ext cx="138304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质量追溯库</a:t>
                </a:r>
              </a:p>
            </p:txBody>
          </p:sp>
          <p:sp>
            <p:nvSpPr>
              <p:cNvPr id="156" name="椭圆 155"/>
              <p:cNvSpPr/>
              <p:nvPr/>
            </p:nvSpPr>
            <p:spPr>
              <a:xfrm>
                <a:off x="6111385" y="4744509"/>
                <a:ext cx="170935" cy="67502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5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监控、巡检</a:t>
                </a:r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7" name="左箭头 156"/>
            <p:cNvSpPr/>
            <p:nvPr/>
          </p:nvSpPr>
          <p:spPr>
            <a:xfrm>
              <a:off x="5907372" y="4982343"/>
              <a:ext cx="144017" cy="184456"/>
            </a:xfrm>
            <a:prstGeom prst="leftArrow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1372793" y="4357227"/>
              <a:ext cx="1398007" cy="1437030"/>
              <a:chOff x="1202665" y="4357227"/>
              <a:chExt cx="1398007" cy="1437030"/>
            </a:xfrm>
          </p:grpSpPr>
          <p:sp>
            <p:nvSpPr>
              <p:cNvPr id="143" name="矩形 142"/>
              <p:cNvSpPr/>
              <p:nvPr/>
            </p:nvSpPr>
            <p:spPr>
              <a:xfrm>
                <a:off x="1221182" y="4357227"/>
                <a:ext cx="1379490" cy="143703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6" name="流程图: 磁盘 145"/>
              <p:cNvSpPr/>
              <p:nvPr/>
            </p:nvSpPr>
            <p:spPr>
              <a:xfrm>
                <a:off x="1494431" y="4482499"/>
                <a:ext cx="864096" cy="320955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主数据</a:t>
                </a:r>
                <a:endPara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7" name="流程图: 磁盘 146"/>
              <p:cNvSpPr/>
              <p:nvPr/>
            </p:nvSpPr>
            <p:spPr>
              <a:xfrm>
                <a:off x="1494431" y="4852690"/>
                <a:ext cx="86409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元数据</a:t>
                </a:r>
                <a:endPara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1202665" y="4461672"/>
                <a:ext cx="360040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数据资源管理</a:t>
                </a:r>
              </a:p>
            </p:txBody>
          </p:sp>
          <p:sp>
            <p:nvSpPr>
              <p:cNvPr id="153" name="圆角矩形 152"/>
              <p:cNvSpPr/>
              <p:nvPr/>
            </p:nvSpPr>
            <p:spPr>
              <a:xfrm>
                <a:off x="1459782" y="5567627"/>
                <a:ext cx="915616" cy="19606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编码规范</a:t>
                </a:r>
              </a:p>
            </p:txBody>
          </p:sp>
          <p:sp>
            <p:nvSpPr>
              <p:cNvPr id="154" name="流程图: 磁盘 153"/>
              <p:cNvSpPr/>
              <p:nvPr/>
            </p:nvSpPr>
            <p:spPr>
              <a:xfrm>
                <a:off x="1488347" y="5203487"/>
                <a:ext cx="86409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标库</a:t>
                </a:r>
                <a:endPara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椭圆 157"/>
              <p:cNvSpPr/>
              <p:nvPr/>
            </p:nvSpPr>
            <p:spPr>
              <a:xfrm>
                <a:off x="2393944" y="4719082"/>
                <a:ext cx="170935" cy="67502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5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取、更新、同步</a:t>
                </a:r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9" name="左右箭头 158"/>
            <p:cNvSpPr/>
            <p:nvPr/>
          </p:nvSpPr>
          <p:spPr>
            <a:xfrm>
              <a:off x="2764493" y="4953043"/>
              <a:ext cx="236641" cy="207106"/>
            </a:xfrm>
            <a:prstGeom prst="leftRightArrow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3" name="上箭头 192"/>
            <p:cNvSpPr/>
            <p:nvPr/>
          </p:nvSpPr>
          <p:spPr>
            <a:xfrm>
              <a:off x="3949768" y="4128142"/>
              <a:ext cx="570399" cy="146997"/>
            </a:xfrm>
            <a:prstGeom prst="up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000231" y="5763693"/>
            <a:ext cx="7231661" cy="1058188"/>
            <a:chOff x="963655" y="5775885"/>
            <a:chExt cx="7231661" cy="1058188"/>
          </a:xfrm>
        </p:grpSpPr>
        <p:sp>
          <p:nvSpPr>
            <p:cNvPr id="176" name="矩形 175"/>
            <p:cNvSpPr/>
            <p:nvPr/>
          </p:nvSpPr>
          <p:spPr>
            <a:xfrm>
              <a:off x="963655" y="6345760"/>
              <a:ext cx="7231661" cy="449288"/>
            </a:xfrm>
            <a:prstGeom prst="rect">
              <a:avLst/>
            </a:prstGeom>
            <a:solidFill>
              <a:schemeClr val="bg1">
                <a:lumMod val="95000"/>
                <a:alpha val="40000"/>
              </a:schemeClr>
            </a:solidFill>
            <a:ln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7" name="矩形 176"/>
            <p:cNvSpPr/>
            <p:nvPr/>
          </p:nvSpPr>
          <p:spPr>
            <a:xfrm>
              <a:off x="963655" y="5912676"/>
              <a:ext cx="7231661" cy="361654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78" name="流程图: 磁盘 177"/>
            <p:cNvSpPr/>
            <p:nvPr/>
          </p:nvSpPr>
          <p:spPr>
            <a:xfrm>
              <a:off x="1675091" y="6397426"/>
              <a:ext cx="1777032" cy="328726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运营管控、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OPK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9" name="流程图: 磁盘 178"/>
            <p:cNvSpPr/>
            <p:nvPr/>
          </p:nvSpPr>
          <p:spPr>
            <a:xfrm>
              <a:off x="3574158" y="6397426"/>
              <a:ext cx="164326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、成本、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A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0" name="流程图: 磁盘 179"/>
            <p:cNvSpPr/>
            <p:nvPr/>
          </p:nvSpPr>
          <p:spPr>
            <a:xfrm>
              <a:off x="5308053" y="6408877"/>
              <a:ext cx="158025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土地资源、项目管理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1" name="流程图: 磁盘 180"/>
            <p:cNvSpPr/>
            <p:nvPr/>
          </p:nvSpPr>
          <p:spPr>
            <a:xfrm>
              <a:off x="7006229" y="6397426"/>
              <a:ext cx="113123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采集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82" name="组合 181"/>
            <p:cNvGrpSpPr/>
            <p:nvPr/>
          </p:nvGrpSpPr>
          <p:grpSpPr>
            <a:xfrm>
              <a:off x="2941839" y="6008417"/>
              <a:ext cx="2808312" cy="228941"/>
              <a:chOff x="1998323" y="2210618"/>
              <a:chExt cx="4496660" cy="319087"/>
            </a:xfrm>
            <a:solidFill>
              <a:srgbClr val="996633"/>
            </a:solidFill>
          </p:grpSpPr>
          <p:sp>
            <p:nvSpPr>
              <p:cNvPr id="190" name="AutoShape 54"/>
              <p:cNvSpPr>
                <a:spLocks noChangeArrowheads="1"/>
              </p:cNvSpPr>
              <p:nvPr/>
            </p:nvSpPr>
            <p:spPr bwMode="auto">
              <a:xfrm rot="16200000">
                <a:off x="4087109" y="121832"/>
                <a:ext cx="319087" cy="4496660"/>
              </a:xfrm>
              <a:prstGeom prst="can">
                <a:avLst>
                  <a:gd name="adj" fmla="val 45192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B09BC5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 dirty="0"/>
              </a:p>
            </p:txBody>
          </p:sp>
          <p:sp>
            <p:nvSpPr>
              <p:cNvPr id="191" name="文本框 190"/>
              <p:cNvSpPr txBox="1"/>
              <p:nvPr/>
            </p:nvSpPr>
            <p:spPr>
              <a:xfrm>
                <a:off x="3203976" y="2226604"/>
                <a:ext cx="2851621" cy="30027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清洗、转换、整合（</a:t>
                </a:r>
                <a:r>
                  <a:rPr lang="en-US" altLang="zh-CN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TL</a:t>
                </a:r>
                <a:r>
                  <a:rPr lang="zh-CN" altLang="en-US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</a:t>
                </a:r>
                <a:endPara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83" name="立方体 182"/>
            <p:cNvSpPr/>
            <p:nvPr/>
          </p:nvSpPr>
          <p:spPr>
            <a:xfrm>
              <a:off x="7178339" y="5988396"/>
              <a:ext cx="413761" cy="210214"/>
            </a:xfrm>
            <a:prstGeom prst="cub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4" name="直接箭头连接符 183"/>
            <p:cNvCxnSpPr>
              <a:stCxn id="190" idx="3"/>
              <a:endCxn id="183" idx="2"/>
            </p:cNvCxnSpPr>
            <p:nvPr/>
          </p:nvCxnSpPr>
          <p:spPr>
            <a:xfrm flipV="1">
              <a:off x="5750151" y="6119780"/>
              <a:ext cx="1428188" cy="3107"/>
            </a:xfrm>
            <a:prstGeom prst="straightConnector1">
              <a:avLst/>
            </a:prstGeom>
            <a:ln w="12700">
              <a:solidFill>
                <a:srgbClr val="765E00"/>
              </a:solidFill>
              <a:headEnd type="triangle"/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85" name="文本框 184"/>
            <p:cNvSpPr txBox="1"/>
            <p:nvPr/>
          </p:nvSpPr>
          <p:spPr>
            <a:xfrm>
              <a:off x="5974085" y="5941962"/>
              <a:ext cx="980321" cy="209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共享外部接口</a:t>
              </a:r>
            </a:p>
          </p:txBody>
        </p:sp>
        <p:sp>
          <p:nvSpPr>
            <p:cNvPr id="186" name="圆角矩形 185"/>
            <p:cNvSpPr/>
            <p:nvPr/>
          </p:nvSpPr>
          <p:spPr>
            <a:xfrm>
              <a:off x="1513649" y="6019887"/>
              <a:ext cx="990058" cy="19874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交换规范</a:t>
              </a:r>
            </a:p>
          </p:txBody>
        </p:sp>
        <p:cxnSp>
          <p:nvCxnSpPr>
            <p:cNvPr id="187" name="直接箭头连接符 186"/>
            <p:cNvCxnSpPr>
              <a:stCxn id="186" idx="3"/>
              <a:endCxn id="190" idx="1"/>
            </p:cNvCxnSpPr>
            <p:nvPr/>
          </p:nvCxnSpPr>
          <p:spPr>
            <a:xfrm>
              <a:off x="2503707" y="6119258"/>
              <a:ext cx="438132" cy="3629"/>
            </a:xfrm>
            <a:prstGeom prst="straightConnector1">
              <a:avLst/>
            </a:prstGeom>
            <a:ln w="12700">
              <a:solidFill>
                <a:srgbClr val="9966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文本框 187"/>
            <p:cNvSpPr txBox="1"/>
            <p:nvPr/>
          </p:nvSpPr>
          <p:spPr>
            <a:xfrm>
              <a:off x="966218" y="5849530"/>
              <a:ext cx="482485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数据</a:t>
              </a:r>
              <a:endParaRPr lang="en-US" altLang="zh-CN" sz="1000" dirty="0" smtClean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000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获取</a:t>
              </a:r>
              <a:endPara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89" name="文本框 188"/>
            <p:cNvSpPr txBox="1"/>
            <p:nvPr/>
          </p:nvSpPr>
          <p:spPr>
            <a:xfrm>
              <a:off x="963655" y="6361379"/>
              <a:ext cx="532718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数据来源</a:t>
              </a:r>
            </a:p>
          </p:txBody>
        </p:sp>
        <p:sp>
          <p:nvSpPr>
            <p:cNvPr id="192" name="上箭头 191"/>
            <p:cNvSpPr/>
            <p:nvPr/>
          </p:nvSpPr>
          <p:spPr>
            <a:xfrm>
              <a:off x="3989377" y="6256563"/>
              <a:ext cx="570399" cy="89197"/>
            </a:xfrm>
            <a:prstGeom prst="up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上下箭头 27"/>
            <p:cNvSpPr/>
            <p:nvPr/>
          </p:nvSpPr>
          <p:spPr>
            <a:xfrm>
              <a:off x="4091892" y="5775885"/>
              <a:ext cx="333675" cy="161619"/>
            </a:xfrm>
            <a:prstGeom prst="upDown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文本框 11"/>
          <p:cNvSpPr txBox="1"/>
          <p:nvPr/>
        </p:nvSpPr>
        <p:spPr>
          <a:xfrm>
            <a:off x="590114" y="2108829"/>
            <a:ext cx="44692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决策分析平台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559074" y="4965022"/>
            <a:ext cx="44692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</a:t>
            </a:r>
          </a:p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平台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338981" y="6121260"/>
            <a:ext cx="803213" cy="2462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续建设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321472" y="5140337"/>
            <a:ext cx="783802" cy="400110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30</a:t>
            </a:r>
            <a:endParaRPr lang="zh-CN" altLang="en-US" sz="1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内容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2345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矩形 179"/>
          <p:cNvSpPr/>
          <p:nvPr/>
        </p:nvSpPr>
        <p:spPr>
          <a:xfrm>
            <a:off x="584164" y="872192"/>
            <a:ext cx="8344783" cy="30583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626573" y="1745083"/>
            <a:ext cx="3967800" cy="2138311"/>
            <a:chOff x="4939473" y="2016754"/>
            <a:chExt cx="3967800" cy="2138311"/>
          </a:xfrm>
          <a:effectLst/>
        </p:grpSpPr>
        <p:sp>
          <p:nvSpPr>
            <p:cNvPr id="17" name="矩形 16"/>
            <p:cNvSpPr/>
            <p:nvPr/>
          </p:nvSpPr>
          <p:spPr>
            <a:xfrm>
              <a:off x="4939473" y="2016754"/>
              <a:ext cx="3967800" cy="21383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矩形 122"/>
            <p:cNvSpPr/>
            <p:nvPr/>
          </p:nvSpPr>
          <p:spPr>
            <a:xfrm>
              <a:off x="4992530" y="3524369"/>
              <a:ext cx="3801486" cy="5881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</a:t>
              </a:r>
              <a:endParaRPr lang="en-US" altLang="zh-CN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功能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6957825" y="2379308"/>
              <a:ext cx="1836191" cy="2780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分析报表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4992529" y="2397349"/>
              <a:ext cx="1763365" cy="26002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驾驶舱（</a:t>
              </a:r>
              <a:r>
                <a:rPr lang="en-US" altLang="zh-CN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KPI</a:t>
              </a:r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</p:txBody>
        </p:sp>
        <p:sp>
          <p:nvSpPr>
            <p:cNvPr id="18" name="矩形 17"/>
            <p:cNvSpPr/>
            <p:nvPr/>
          </p:nvSpPr>
          <p:spPr>
            <a:xfrm>
              <a:off x="4992529" y="2720543"/>
              <a:ext cx="1763365" cy="7734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分析</a:t>
              </a: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4939473" y="2025543"/>
              <a:ext cx="1560348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分析平台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5047534" y="2988485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发展</a:t>
              </a: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5057154" y="3242196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土地资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5898907" y="2999892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营管控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5893333" y="3242326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力资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6958577" y="2716350"/>
              <a:ext cx="1829342" cy="7867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题分析</a:t>
              </a: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7077930" y="2972857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货</a:t>
              </a: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7929303" y="2973631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7934362" y="3226698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款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圆角矩形 83"/>
            <p:cNvSpPr/>
            <p:nvPr/>
          </p:nvSpPr>
          <p:spPr>
            <a:xfrm>
              <a:off x="7087550" y="3226525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金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圆角矩形 112"/>
            <p:cNvSpPr/>
            <p:nvPr/>
          </p:nvSpPr>
          <p:spPr>
            <a:xfrm>
              <a:off x="5443857" y="3557604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趋势分析</a:t>
              </a:r>
            </a:p>
          </p:txBody>
        </p:sp>
        <p:sp>
          <p:nvSpPr>
            <p:cNvPr id="114" name="圆角矩形 113"/>
            <p:cNvSpPr/>
            <p:nvPr/>
          </p:nvSpPr>
          <p:spPr>
            <a:xfrm>
              <a:off x="5453477" y="3853850"/>
              <a:ext cx="720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占比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圆角矩形 114"/>
            <p:cNvSpPr/>
            <p:nvPr/>
          </p:nvSpPr>
          <p:spPr>
            <a:xfrm>
              <a:off x="6295234" y="3569011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钻取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6" name="圆角矩形 115"/>
            <p:cNvSpPr/>
            <p:nvPr/>
          </p:nvSpPr>
          <p:spPr>
            <a:xfrm>
              <a:off x="6215229" y="3853977"/>
              <a:ext cx="720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比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圆角矩形 116"/>
            <p:cNvSpPr/>
            <p:nvPr/>
          </p:nvSpPr>
          <p:spPr>
            <a:xfrm>
              <a:off x="7093614" y="3564295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邦分析</a:t>
              </a:r>
            </a:p>
          </p:txBody>
        </p:sp>
        <p:sp>
          <p:nvSpPr>
            <p:cNvPr id="118" name="圆角矩形 117"/>
            <p:cNvSpPr/>
            <p:nvPr/>
          </p:nvSpPr>
          <p:spPr>
            <a:xfrm>
              <a:off x="6965005" y="3860541"/>
              <a:ext cx="972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数据下载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圆角矩形 118"/>
            <p:cNvSpPr/>
            <p:nvPr/>
          </p:nvSpPr>
          <p:spPr>
            <a:xfrm>
              <a:off x="7944991" y="3575702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预警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" name="圆角矩形 119"/>
            <p:cNvSpPr/>
            <p:nvPr/>
          </p:nvSpPr>
          <p:spPr>
            <a:xfrm>
              <a:off x="7939417" y="3850035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历史数据查询</a:t>
              </a:r>
            </a:p>
          </p:txBody>
        </p:sp>
        <p:sp>
          <p:nvSpPr>
            <p:cNvPr id="124" name="右箭头 123"/>
            <p:cNvSpPr/>
            <p:nvPr/>
          </p:nvSpPr>
          <p:spPr>
            <a:xfrm>
              <a:off x="6807764" y="2996196"/>
              <a:ext cx="150062" cy="332987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右箭头 124"/>
            <p:cNvSpPr/>
            <p:nvPr/>
          </p:nvSpPr>
          <p:spPr>
            <a:xfrm>
              <a:off x="6788665" y="2380943"/>
              <a:ext cx="150062" cy="332987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9" name="文本框 178"/>
          <p:cNvSpPr txBox="1"/>
          <p:nvPr/>
        </p:nvSpPr>
        <p:spPr>
          <a:xfrm>
            <a:off x="195282" y="834721"/>
            <a:ext cx="4404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场景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2505" y="121350"/>
            <a:ext cx="6522862" cy="546101"/>
          </a:xfrm>
        </p:spPr>
        <p:txBody>
          <a:bodyPr/>
          <a:lstStyle/>
          <a:p>
            <a:r>
              <a:rPr lang="zh-CN" altLang="en-US" dirty="0" smtClean="0"/>
              <a:t>平台应用功能架构及实施路线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629440" y="5481649"/>
            <a:ext cx="8268709" cy="4120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和安全管理</a:t>
            </a:r>
          </a:p>
        </p:txBody>
      </p:sp>
      <p:grpSp>
        <p:nvGrpSpPr>
          <p:cNvPr id="128" name="组合 127"/>
          <p:cNvGrpSpPr/>
          <p:nvPr/>
        </p:nvGrpSpPr>
        <p:grpSpPr>
          <a:xfrm>
            <a:off x="630141" y="4147562"/>
            <a:ext cx="8268008" cy="1277780"/>
            <a:chOff x="670469" y="4992858"/>
            <a:chExt cx="8268008" cy="1277780"/>
          </a:xfrm>
          <a:effectLst/>
        </p:grpSpPr>
        <p:sp>
          <p:nvSpPr>
            <p:cNvPr id="6" name="矩形 5"/>
            <p:cNvSpPr/>
            <p:nvPr/>
          </p:nvSpPr>
          <p:spPr>
            <a:xfrm>
              <a:off x="670469" y="4992858"/>
              <a:ext cx="8268008" cy="12777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678713" y="5035710"/>
              <a:ext cx="1022997" cy="52322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</a:t>
              </a: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</a:t>
              </a:r>
            </a:p>
          </p:txBody>
        </p:sp>
        <p:grpSp>
          <p:nvGrpSpPr>
            <p:cNvPr id="85" name="组合 84"/>
            <p:cNvGrpSpPr/>
            <p:nvPr/>
          </p:nvGrpSpPr>
          <p:grpSpPr>
            <a:xfrm>
              <a:off x="751766" y="5682275"/>
              <a:ext cx="3548646" cy="576000"/>
              <a:chOff x="-183848" y="5582485"/>
              <a:chExt cx="3548646" cy="556262"/>
            </a:xfrm>
          </p:grpSpPr>
          <p:sp>
            <p:nvSpPr>
              <p:cNvPr id="7" name="矩形 6"/>
              <p:cNvSpPr/>
              <p:nvPr/>
            </p:nvSpPr>
            <p:spPr>
              <a:xfrm>
                <a:off x="-183848" y="5582485"/>
                <a:ext cx="3548646" cy="55626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整合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圆角矩形 54"/>
              <p:cNvSpPr/>
              <p:nvPr/>
            </p:nvSpPr>
            <p:spPr>
              <a:xfrm>
                <a:off x="306205" y="5868939"/>
                <a:ext cx="1178716" cy="219756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清洗、转换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6" name="圆角矩形 55"/>
              <p:cNvSpPr/>
              <p:nvPr/>
            </p:nvSpPr>
            <p:spPr>
              <a:xfrm>
                <a:off x="2307310" y="5601545"/>
                <a:ext cx="795451" cy="222171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共享接口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圆角矩形 58"/>
              <p:cNvSpPr/>
              <p:nvPr/>
            </p:nvSpPr>
            <p:spPr>
              <a:xfrm>
                <a:off x="1504829" y="5872695"/>
                <a:ext cx="1012519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质量监控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8" name="矩形 7"/>
            <p:cNvSpPr/>
            <p:nvPr/>
          </p:nvSpPr>
          <p:spPr>
            <a:xfrm>
              <a:off x="4369981" y="5669177"/>
              <a:ext cx="4424036" cy="56936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源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心</a:t>
              </a:r>
              <a:endPara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4922316" y="5976958"/>
              <a:ext cx="864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标库管理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9" name="组合 68"/>
            <p:cNvGrpSpPr/>
            <p:nvPr/>
          </p:nvGrpSpPr>
          <p:grpSpPr>
            <a:xfrm>
              <a:off x="5853835" y="5060617"/>
              <a:ext cx="2940184" cy="576000"/>
              <a:chOff x="1057009" y="5510496"/>
              <a:chExt cx="2269843" cy="576000"/>
            </a:xfrm>
          </p:grpSpPr>
          <p:sp>
            <p:nvSpPr>
              <p:cNvPr id="12" name="矩形 11"/>
              <p:cNvSpPr/>
              <p:nvPr/>
            </p:nvSpPr>
            <p:spPr>
              <a:xfrm>
                <a:off x="1057009" y="5510496"/>
                <a:ext cx="2269843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警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醒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1" name="圆角矩形 60"/>
              <p:cNvSpPr/>
              <p:nvPr/>
            </p:nvSpPr>
            <p:spPr>
              <a:xfrm>
                <a:off x="1434321" y="5551975"/>
                <a:ext cx="944937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自定义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预警库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圆角矩形 61"/>
              <p:cNvSpPr/>
              <p:nvPr/>
            </p:nvSpPr>
            <p:spPr>
              <a:xfrm>
                <a:off x="1434639" y="5830402"/>
                <a:ext cx="750391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邮件通知服务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圆角矩形 62"/>
              <p:cNvSpPr/>
              <p:nvPr/>
            </p:nvSpPr>
            <p:spPr>
              <a:xfrm>
                <a:off x="2220297" y="5825101"/>
                <a:ext cx="750391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短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信提醒服务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709953" y="5060038"/>
              <a:ext cx="4064504" cy="57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194397" y="5351066"/>
              <a:ext cx="865091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共享数据池</a:t>
              </a: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3105365" y="5351066"/>
              <a:ext cx="100857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应用功能</a:t>
              </a:r>
            </a:p>
          </p:txBody>
        </p:sp>
        <p:sp>
          <p:nvSpPr>
            <p:cNvPr id="86" name="圆角矩形 85"/>
            <p:cNvSpPr/>
            <p:nvPr/>
          </p:nvSpPr>
          <p:spPr>
            <a:xfrm>
              <a:off x="4173293" y="5365203"/>
              <a:ext cx="98802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</a:t>
              </a:r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搜索</a:t>
              </a:r>
            </a:p>
          </p:txBody>
        </p:sp>
        <p:sp>
          <p:nvSpPr>
            <p:cNvPr id="87" name="圆角矩形 86"/>
            <p:cNvSpPr/>
            <p:nvPr/>
          </p:nvSpPr>
          <p:spPr>
            <a:xfrm>
              <a:off x="3285600" y="5110008"/>
              <a:ext cx="13088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批量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服务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圆角矩形 87"/>
            <p:cNvSpPr/>
            <p:nvPr/>
          </p:nvSpPr>
          <p:spPr>
            <a:xfrm>
              <a:off x="2202733" y="5112098"/>
              <a:ext cx="1054635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搜索服务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圆角矩形 90"/>
            <p:cNvSpPr/>
            <p:nvPr/>
          </p:nvSpPr>
          <p:spPr>
            <a:xfrm>
              <a:off x="2327060" y="5718774"/>
              <a:ext cx="862031" cy="22326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流监控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圆角矩形 91"/>
            <p:cNvSpPr/>
            <p:nvPr/>
          </p:nvSpPr>
          <p:spPr>
            <a:xfrm>
              <a:off x="1254207" y="5730788"/>
              <a:ext cx="100094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动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调度数据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圆角矩形 93"/>
            <p:cNvSpPr/>
            <p:nvPr/>
          </p:nvSpPr>
          <p:spPr>
            <a:xfrm>
              <a:off x="7028705" y="5714868"/>
              <a:ext cx="864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度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圆角矩形 94"/>
            <p:cNvSpPr/>
            <p:nvPr/>
          </p:nvSpPr>
          <p:spPr>
            <a:xfrm>
              <a:off x="6013547" y="5704446"/>
              <a:ext cx="983560" cy="21385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模型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圆角矩形 95"/>
            <p:cNvSpPr/>
            <p:nvPr/>
          </p:nvSpPr>
          <p:spPr>
            <a:xfrm>
              <a:off x="6818396" y="5978893"/>
              <a:ext cx="105292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储结构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圆角矩形 96"/>
            <p:cNvSpPr/>
            <p:nvPr/>
          </p:nvSpPr>
          <p:spPr>
            <a:xfrm>
              <a:off x="4921312" y="5714868"/>
              <a:ext cx="105292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数据视图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圆角矩形 97"/>
            <p:cNvSpPr/>
            <p:nvPr/>
          </p:nvSpPr>
          <p:spPr>
            <a:xfrm>
              <a:off x="5815098" y="5976777"/>
              <a:ext cx="972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编码规范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6" name="组合 125"/>
          <p:cNvGrpSpPr/>
          <p:nvPr/>
        </p:nvGrpSpPr>
        <p:grpSpPr>
          <a:xfrm>
            <a:off x="4664992" y="1745083"/>
            <a:ext cx="4204460" cy="2125641"/>
            <a:chOff x="637032" y="1963058"/>
            <a:chExt cx="4204460" cy="2125641"/>
          </a:xfrm>
          <a:effectLst/>
        </p:grpSpPr>
        <p:sp>
          <p:nvSpPr>
            <p:cNvPr id="13" name="矩形 12"/>
            <p:cNvSpPr/>
            <p:nvPr/>
          </p:nvSpPr>
          <p:spPr>
            <a:xfrm>
              <a:off x="637032" y="1963058"/>
              <a:ext cx="4204460" cy="21256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655130" y="2035631"/>
              <a:ext cx="1413672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分析平台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767226" y="2456110"/>
              <a:ext cx="1988215" cy="15587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敏捷采集表单</a:t>
              </a: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856562" y="2709910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宽表</a:t>
              </a: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708481" y="2456132"/>
              <a:ext cx="1987296" cy="1558678"/>
              <a:chOff x="4025383" y="2146902"/>
              <a:chExt cx="1987296" cy="1558678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4025383" y="2146902"/>
                <a:ext cx="1987296" cy="155867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1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自助</a:t>
                </a:r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报表</a:t>
                </a:r>
                <a:r>
                  <a:rPr lang="en-US" altLang="zh-CN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</a:t>
                </a:r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析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圆角矩形 44"/>
              <p:cNvSpPr/>
              <p:nvPr/>
            </p:nvSpPr>
            <p:spPr>
              <a:xfrm>
                <a:off x="4086447" y="2389738"/>
                <a:ext cx="1864330" cy="18923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定义的业务数据目录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圆角矩形 53"/>
              <p:cNvSpPr/>
              <p:nvPr/>
            </p:nvSpPr>
            <p:spPr>
              <a:xfrm>
                <a:off x="4648091" y="3487656"/>
                <a:ext cx="757527" cy="15642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en-US" altLang="zh-CN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………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9" name="圆角矩形 98"/>
            <p:cNvSpPr/>
            <p:nvPr/>
          </p:nvSpPr>
          <p:spPr>
            <a:xfrm>
              <a:off x="741133" y="3005363"/>
              <a:ext cx="100137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拖拽式报表</a:t>
              </a:r>
            </a:p>
          </p:txBody>
        </p:sp>
        <p:sp>
          <p:nvSpPr>
            <p:cNvPr id="100" name="圆角矩形 99"/>
            <p:cNvSpPr/>
            <p:nvPr/>
          </p:nvSpPr>
          <p:spPr>
            <a:xfrm>
              <a:off x="740120" y="3248442"/>
              <a:ext cx="99175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拖拽式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圆角矩形 100"/>
            <p:cNvSpPr/>
            <p:nvPr/>
          </p:nvSpPr>
          <p:spPr>
            <a:xfrm>
              <a:off x="1818420" y="3006085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分享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圆角矩形 101"/>
            <p:cNvSpPr/>
            <p:nvPr/>
          </p:nvSpPr>
          <p:spPr>
            <a:xfrm>
              <a:off x="1808313" y="3250493"/>
              <a:ext cx="772168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存档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圆角矩形 102"/>
            <p:cNvSpPr/>
            <p:nvPr/>
          </p:nvSpPr>
          <p:spPr>
            <a:xfrm>
              <a:off x="739447" y="3496967"/>
              <a:ext cx="98179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图表数据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圆角矩形 104"/>
            <p:cNvSpPr/>
            <p:nvPr/>
          </p:nvSpPr>
          <p:spPr>
            <a:xfrm>
              <a:off x="2852444" y="2978442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表单设计</a:t>
              </a:r>
            </a:p>
          </p:txBody>
        </p:sp>
        <p:sp>
          <p:nvSpPr>
            <p:cNvPr id="106" name="圆角矩形 105"/>
            <p:cNvSpPr/>
            <p:nvPr/>
          </p:nvSpPr>
          <p:spPr>
            <a:xfrm>
              <a:off x="2840916" y="3221015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保存共享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7" name="圆角矩形 106"/>
            <p:cNvSpPr/>
            <p:nvPr/>
          </p:nvSpPr>
          <p:spPr>
            <a:xfrm>
              <a:off x="3755594" y="2733883"/>
              <a:ext cx="91011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样表导入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8" name="圆角矩形 107"/>
            <p:cNvSpPr/>
            <p:nvPr/>
          </p:nvSpPr>
          <p:spPr>
            <a:xfrm>
              <a:off x="3751708" y="2976850"/>
              <a:ext cx="9156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导出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圆角矩形 108"/>
            <p:cNvSpPr/>
            <p:nvPr/>
          </p:nvSpPr>
          <p:spPr>
            <a:xfrm>
              <a:off x="2835837" y="3453225"/>
              <a:ext cx="796680" cy="29223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期间定制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圆角矩形 109"/>
            <p:cNvSpPr/>
            <p:nvPr/>
          </p:nvSpPr>
          <p:spPr>
            <a:xfrm>
              <a:off x="3759053" y="3228540"/>
              <a:ext cx="9156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则引用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" name="圆角矩形 111"/>
            <p:cNvSpPr/>
            <p:nvPr/>
          </p:nvSpPr>
          <p:spPr>
            <a:xfrm>
              <a:off x="3760997" y="3472742"/>
              <a:ext cx="915693" cy="28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搜索条件定制功能等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1" name="圆角矩形 120"/>
            <p:cNvSpPr/>
            <p:nvPr/>
          </p:nvSpPr>
          <p:spPr>
            <a:xfrm>
              <a:off x="1810863" y="3487761"/>
              <a:ext cx="772168" cy="23147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查看历史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圆角矩形 121"/>
            <p:cNvSpPr/>
            <p:nvPr/>
          </p:nvSpPr>
          <p:spPr>
            <a:xfrm>
              <a:off x="3339660" y="3833205"/>
              <a:ext cx="757527" cy="15642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……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9" name="上箭头 128"/>
          <p:cNvSpPr/>
          <p:nvPr/>
        </p:nvSpPr>
        <p:spPr>
          <a:xfrm>
            <a:off x="1325309" y="3913069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上箭头 129"/>
          <p:cNvSpPr/>
          <p:nvPr/>
        </p:nvSpPr>
        <p:spPr>
          <a:xfrm>
            <a:off x="3544263" y="3916961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上箭头 130"/>
          <p:cNvSpPr/>
          <p:nvPr/>
        </p:nvSpPr>
        <p:spPr>
          <a:xfrm>
            <a:off x="6527492" y="3909231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8092936" y="5224194"/>
            <a:ext cx="59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管理员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8308332" y="4581677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专业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5208211" y="4573765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专业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3529497" y="5191281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979467" y="3898598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4126678" y="3898792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文本框 139"/>
          <p:cNvSpPr txBox="1"/>
          <p:nvPr/>
        </p:nvSpPr>
        <p:spPr>
          <a:xfrm>
            <a:off x="7084490" y="3901433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200758" y="2057544"/>
            <a:ext cx="3672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消费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4" name="文本框 143"/>
          <p:cNvSpPr txBox="1"/>
          <p:nvPr/>
        </p:nvSpPr>
        <p:spPr>
          <a:xfrm>
            <a:off x="204248" y="4148569"/>
            <a:ext cx="3672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支持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7" name="组合 146"/>
          <p:cNvGrpSpPr/>
          <p:nvPr/>
        </p:nvGrpSpPr>
        <p:grpSpPr>
          <a:xfrm>
            <a:off x="1" y="5938766"/>
            <a:ext cx="9143999" cy="925751"/>
            <a:chOff x="658860" y="6148676"/>
            <a:chExt cx="8141208" cy="998865"/>
          </a:xfrm>
          <a:solidFill>
            <a:schemeClr val="bg1">
              <a:lumMod val="95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658860" y="6148676"/>
              <a:ext cx="8141208" cy="979521"/>
            </a:xfrm>
            <a:prstGeom prst="rect">
              <a:avLst/>
            </a:prstGeom>
            <a:grpFill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741080" y="6201063"/>
              <a:ext cx="5803392" cy="94647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施路线</a:t>
              </a:r>
              <a:r>
                <a:rPr lang="zh-CN" altLang="en-US" sz="12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一库三平台</a:t>
              </a:r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型阶段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数据整合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数据基础服务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分析报表、管理驾驶舱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夯实阶段：数据资源中心、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预警提醒服务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报表分析平台、主题分析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成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阶段：敏捷采集、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专题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化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7" name="文本框 176"/>
          <p:cNvSpPr txBox="1"/>
          <p:nvPr/>
        </p:nvSpPr>
        <p:spPr>
          <a:xfrm>
            <a:off x="207135" y="5410382"/>
            <a:ext cx="4404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463700" y="1876916"/>
            <a:ext cx="6921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团领导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7721999" y="1943876"/>
            <a:ext cx="7261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zh-CN" altLang="en-US" sz="9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员</a:t>
            </a:r>
            <a:endParaRPr lang="zh-CN" altLang="en-US" sz="9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5" name="左右箭头 144"/>
          <p:cNvSpPr/>
          <p:nvPr/>
        </p:nvSpPr>
        <p:spPr>
          <a:xfrm>
            <a:off x="4524927" y="2642319"/>
            <a:ext cx="204510" cy="328336"/>
          </a:xfrm>
          <a:prstGeom prst="leftRight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589" y="1782169"/>
            <a:ext cx="320326" cy="320326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028" y="1817656"/>
            <a:ext cx="406610" cy="40661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86" y="4283707"/>
            <a:ext cx="384536" cy="305630"/>
          </a:xfrm>
          <a:prstGeom prst="rect">
            <a:avLst/>
          </a:prstGeom>
        </p:spPr>
      </p:pic>
      <p:pic>
        <p:nvPicPr>
          <p:cNvPr id="183" name="图片 18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162" y="4924375"/>
            <a:ext cx="384536" cy="305630"/>
          </a:xfrm>
          <a:prstGeom prst="rect">
            <a:avLst/>
          </a:prstGeom>
        </p:spPr>
      </p:pic>
      <p:pic>
        <p:nvPicPr>
          <p:cNvPr id="184" name="图片 18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175" y="4189241"/>
            <a:ext cx="406610" cy="406610"/>
          </a:xfrm>
          <a:prstGeom prst="rect">
            <a:avLst/>
          </a:prstGeom>
        </p:spPr>
      </p:pic>
      <p:pic>
        <p:nvPicPr>
          <p:cNvPr id="185" name="图片 18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956" y="5043967"/>
            <a:ext cx="384536" cy="305630"/>
          </a:xfrm>
          <a:prstGeom prst="rect">
            <a:avLst/>
          </a:prstGeom>
        </p:spPr>
      </p:pic>
      <p:grpSp>
        <p:nvGrpSpPr>
          <p:cNvPr id="43" name="组合 42"/>
          <p:cNvGrpSpPr/>
          <p:nvPr/>
        </p:nvGrpSpPr>
        <p:grpSpPr>
          <a:xfrm>
            <a:off x="710654" y="995630"/>
            <a:ext cx="3520159" cy="721089"/>
            <a:chOff x="710654" y="995630"/>
            <a:chExt cx="3520159" cy="721089"/>
          </a:xfrm>
        </p:grpSpPr>
        <p:grpSp>
          <p:nvGrpSpPr>
            <p:cNvPr id="149" name="组合 148">
              <a:extLst>
                <a:ext uri="{FF2B5EF4-FFF2-40B4-BE49-F238E27FC236}">
                  <a16:creationId xmlns="" xmlns:a16="http://schemas.microsoft.com/office/drawing/2014/main" id="{CDA058D4-28D6-415F-A8A0-55484BF1CA5A}"/>
                </a:ext>
              </a:extLst>
            </p:cNvPr>
            <p:cNvGrpSpPr/>
            <p:nvPr/>
          </p:nvGrpSpPr>
          <p:grpSpPr>
            <a:xfrm>
              <a:off x="710654" y="1017513"/>
              <a:ext cx="3520159" cy="699206"/>
              <a:chOff x="1424759" y="4956659"/>
              <a:chExt cx="4372209" cy="1200906"/>
            </a:xfrm>
            <a:noFill/>
          </p:grpSpPr>
          <p:sp>
            <p:nvSpPr>
              <p:cNvPr id="161" name="文本框 160">
                <a:extLst>
                  <a:ext uri="{FF2B5EF4-FFF2-40B4-BE49-F238E27FC236}">
                    <a16:creationId xmlns="" xmlns:a16="http://schemas.microsoft.com/office/drawing/2014/main" id="{04C989C8-ACDD-4ED6-85FA-475BAD7C4A99}"/>
                  </a:ext>
                </a:extLst>
              </p:cNvPr>
              <p:cNvSpPr txBox="1"/>
              <p:nvPr/>
            </p:nvSpPr>
            <p:spPr>
              <a:xfrm>
                <a:off x="5099735" y="5662474"/>
                <a:ext cx="697233" cy="32525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技术</a:t>
                </a:r>
              </a:p>
            </p:txBody>
          </p:sp>
          <p:sp>
            <p:nvSpPr>
              <p:cNvPr id="153" name="文本框 152">
                <a:extLst>
                  <a:ext uri="{FF2B5EF4-FFF2-40B4-BE49-F238E27FC236}">
                    <a16:creationId xmlns="" xmlns:a16="http://schemas.microsoft.com/office/drawing/2014/main" id="{1D5BE94C-88AF-4484-9C5C-205CB6D32131}"/>
                  </a:ext>
                </a:extLst>
              </p:cNvPr>
              <p:cNvSpPr txBox="1"/>
              <p:nvPr/>
            </p:nvSpPr>
            <p:spPr>
              <a:xfrm>
                <a:off x="3327751" y="5662474"/>
                <a:ext cx="610933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业务</a:t>
                </a:r>
              </a:p>
            </p:txBody>
          </p:sp>
          <p:sp>
            <p:nvSpPr>
              <p:cNvPr id="154" name="文本框 153">
                <a:extLst>
                  <a:ext uri="{FF2B5EF4-FFF2-40B4-BE49-F238E27FC236}">
                    <a16:creationId xmlns="" xmlns:a16="http://schemas.microsoft.com/office/drawing/2014/main" id="{C69642F5-61A5-4F2A-9E45-2A63F30B9DD9}"/>
                  </a:ext>
                </a:extLst>
              </p:cNvPr>
              <p:cNvSpPr txBox="1"/>
              <p:nvPr/>
            </p:nvSpPr>
            <p:spPr>
              <a:xfrm>
                <a:off x="1424759" y="5652149"/>
                <a:ext cx="742784" cy="50541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领导</a:t>
                </a:r>
              </a:p>
            </p:txBody>
          </p:sp>
          <p:cxnSp>
            <p:nvCxnSpPr>
              <p:cNvPr id="155" name="直接箭头连接符 154">
                <a:extLst>
                  <a:ext uri="{FF2B5EF4-FFF2-40B4-BE49-F238E27FC236}">
                    <a16:creationId xmlns="" xmlns:a16="http://schemas.microsoft.com/office/drawing/2014/main" id="{FF70A192-BC65-4D1E-8A16-BC88796453D8}"/>
                  </a:ext>
                </a:extLst>
              </p:cNvPr>
              <p:cNvCxnSpPr/>
              <p:nvPr/>
            </p:nvCxnSpPr>
            <p:spPr>
              <a:xfrm flipV="1">
                <a:off x="2028394" y="5309201"/>
                <a:ext cx="1260472" cy="90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6" name="直接箭头连接符 155">
                <a:extLst>
                  <a:ext uri="{FF2B5EF4-FFF2-40B4-BE49-F238E27FC236}">
                    <a16:creationId xmlns="" xmlns:a16="http://schemas.microsoft.com/office/drawing/2014/main" id="{DD0AA2CF-D157-40FA-B511-B18A176DD9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55061" y="5309201"/>
                <a:ext cx="1255817" cy="73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7" name="文本框 156">
                <a:extLst>
                  <a:ext uri="{FF2B5EF4-FFF2-40B4-BE49-F238E27FC236}">
                    <a16:creationId xmlns="" xmlns:a16="http://schemas.microsoft.com/office/drawing/2014/main" id="{EED7A6BC-776F-4CD6-A735-A6A6091E05C0}"/>
                  </a:ext>
                </a:extLst>
              </p:cNvPr>
              <p:cNvSpPr txBox="1"/>
              <p:nvPr/>
            </p:nvSpPr>
            <p:spPr>
              <a:xfrm>
                <a:off x="2141288" y="5254372"/>
                <a:ext cx="952783" cy="3252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提出需求</a:t>
                </a:r>
              </a:p>
            </p:txBody>
          </p:sp>
          <p:sp>
            <p:nvSpPr>
              <p:cNvPr id="158" name="文本框 157">
                <a:extLst>
                  <a:ext uri="{FF2B5EF4-FFF2-40B4-BE49-F238E27FC236}">
                    <a16:creationId xmlns="" xmlns:a16="http://schemas.microsoft.com/office/drawing/2014/main" id="{070CACA6-F436-4EC9-AEB3-4A092DC6477F}"/>
                  </a:ext>
                </a:extLst>
              </p:cNvPr>
              <p:cNvSpPr txBox="1"/>
              <p:nvPr/>
            </p:nvSpPr>
            <p:spPr>
              <a:xfrm>
                <a:off x="4055541" y="5277486"/>
                <a:ext cx="952783" cy="3252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响应需求</a:t>
                </a:r>
              </a:p>
            </p:txBody>
          </p:sp>
          <p:cxnSp>
            <p:nvCxnSpPr>
              <p:cNvPr id="159" name="直接连接符 158">
                <a:extLst>
                  <a:ext uri="{FF2B5EF4-FFF2-40B4-BE49-F238E27FC236}">
                    <a16:creationId xmlns="" xmlns:a16="http://schemas.microsoft.com/office/drawing/2014/main" id="{341130B1-43D6-4F29-A8F1-655C515957C8}"/>
                  </a:ext>
                </a:extLst>
              </p:cNvPr>
              <p:cNvCxnSpPr/>
              <p:nvPr/>
            </p:nvCxnSpPr>
            <p:spPr>
              <a:xfrm>
                <a:off x="4419264" y="4956659"/>
                <a:ext cx="0" cy="1159328"/>
              </a:xfrm>
              <a:prstGeom prst="line">
                <a:avLst/>
              </a:prstGeom>
              <a:ln>
                <a:prstDash val="dash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188" name="图片 18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4213" y="995630"/>
              <a:ext cx="406610" cy="406610"/>
            </a:xfrm>
            <a:prstGeom prst="rect">
              <a:avLst/>
            </a:prstGeom>
          </p:spPr>
        </p:pic>
        <p:pic>
          <p:nvPicPr>
            <p:cNvPr id="189" name="图片 18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651" y="1056862"/>
              <a:ext cx="320326" cy="320326"/>
            </a:xfrm>
            <a:prstGeom prst="rect">
              <a:avLst/>
            </a:prstGeom>
          </p:spPr>
        </p:pic>
        <p:pic>
          <p:nvPicPr>
            <p:cNvPr id="190" name="图片 18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1530" y="1059721"/>
              <a:ext cx="384536" cy="305630"/>
            </a:xfrm>
            <a:prstGeom prst="rect">
              <a:avLst/>
            </a:prstGeom>
          </p:spPr>
        </p:pic>
      </p:grpSp>
      <p:grpSp>
        <p:nvGrpSpPr>
          <p:cNvPr id="44" name="组合 43"/>
          <p:cNvGrpSpPr/>
          <p:nvPr/>
        </p:nvGrpSpPr>
        <p:grpSpPr>
          <a:xfrm>
            <a:off x="4968040" y="990247"/>
            <a:ext cx="3410643" cy="689021"/>
            <a:chOff x="4968040" y="990247"/>
            <a:chExt cx="3410643" cy="689021"/>
          </a:xfrm>
        </p:grpSpPr>
        <p:grpSp>
          <p:nvGrpSpPr>
            <p:cNvPr id="163" name="组合 162">
              <a:extLst>
                <a:ext uri="{FF2B5EF4-FFF2-40B4-BE49-F238E27FC236}">
                  <a16:creationId xmlns="" xmlns:a16="http://schemas.microsoft.com/office/drawing/2014/main" id="{D5659415-D712-451F-A986-085CCF4FF3ED}"/>
                </a:ext>
              </a:extLst>
            </p:cNvPr>
            <p:cNvGrpSpPr/>
            <p:nvPr/>
          </p:nvGrpSpPr>
          <p:grpSpPr>
            <a:xfrm>
              <a:off x="4968040" y="1028640"/>
              <a:ext cx="3410643" cy="650628"/>
              <a:chOff x="6921051" y="4956659"/>
              <a:chExt cx="4236184" cy="1220097"/>
            </a:xfrm>
            <a:noFill/>
          </p:grpSpPr>
          <p:sp>
            <p:nvSpPr>
              <p:cNvPr id="166" name="文本框 165">
                <a:extLst>
                  <a:ext uri="{FF2B5EF4-FFF2-40B4-BE49-F238E27FC236}">
                    <a16:creationId xmlns="" xmlns:a16="http://schemas.microsoft.com/office/drawing/2014/main" id="{7C6C46AC-028D-4C91-AA5B-5B46FECF0FC7}"/>
                  </a:ext>
                </a:extLst>
              </p:cNvPr>
              <p:cNvSpPr txBox="1"/>
              <p:nvPr/>
            </p:nvSpPr>
            <p:spPr>
              <a:xfrm>
                <a:off x="10516981" y="5657258"/>
                <a:ext cx="640254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领导</a:t>
                </a:r>
              </a:p>
            </p:txBody>
          </p:sp>
          <p:sp>
            <p:nvSpPr>
              <p:cNvPr id="167" name="文本框 166">
                <a:extLst>
                  <a:ext uri="{FF2B5EF4-FFF2-40B4-BE49-F238E27FC236}">
                    <a16:creationId xmlns="" xmlns:a16="http://schemas.microsoft.com/office/drawing/2014/main" id="{BEC062D2-49A7-4BC6-B0A4-F2E9AE495CE0}"/>
                  </a:ext>
                </a:extLst>
              </p:cNvPr>
              <p:cNvSpPr txBox="1"/>
              <p:nvPr/>
            </p:nvSpPr>
            <p:spPr>
              <a:xfrm>
                <a:off x="8699740" y="5657311"/>
                <a:ext cx="717191" cy="51944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业务</a:t>
                </a:r>
              </a:p>
            </p:txBody>
          </p:sp>
          <p:sp>
            <p:nvSpPr>
              <p:cNvPr id="175" name="文本框 174">
                <a:extLst>
                  <a:ext uri="{FF2B5EF4-FFF2-40B4-BE49-F238E27FC236}">
                    <a16:creationId xmlns="" xmlns:a16="http://schemas.microsoft.com/office/drawing/2014/main" id="{B8E8978F-279B-46F6-946E-B72E0473C044}"/>
                  </a:ext>
                </a:extLst>
              </p:cNvPr>
              <p:cNvSpPr txBox="1"/>
              <p:nvPr/>
            </p:nvSpPr>
            <p:spPr>
              <a:xfrm>
                <a:off x="6921051" y="5657309"/>
                <a:ext cx="646326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技术</a:t>
                </a:r>
              </a:p>
            </p:txBody>
          </p:sp>
          <p:cxnSp>
            <p:nvCxnSpPr>
              <p:cNvPr id="169" name="直接箭头连接符 168">
                <a:extLst>
                  <a:ext uri="{FF2B5EF4-FFF2-40B4-BE49-F238E27FC236}">
                    <a16:creationId xmlns="" xmlns:a16="http://schemas.microsoft.com/office/drawing/2014/main" id="{64720A52-1B17-4302-A14E-43F7BA0564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454833" y="5309201"/>
                <a:ext cx="1260472" cy="90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70" name="直接箭头连接符 169">
                <a:extLst>
                  <a:ext uri="{FF2B5EF4-FFF2-40B4-BE49-F238E27FC236}">
                    <a16:creationId xmlns="" xmlns:a16="http://schemas.microsoft.com/office/drawing/2014/main" id="{287D4E15-A855-4D1D-9B6A-4EE9C531F3F9}"/>
                  </a:ext>
                </a:extLst>
              </p:cNvPr>
              <p:cNvCxnSpPr/>
              <p:nvPr/>
            </p:nvCxnSpPr>
            <p:spPr>
              <a:xfrm>
                <a:off x="9281500" y="5309201"/>
                <a:ext cx="1255817" cy="73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1" name="文本框 170">
                <a:extLst>
                  <a:ext uri="{FF2B5EF4-FFF2-40B4-BE49-F238E27FC236}">
                    <a16:creationId xmlns="" xmlns:a16="http://schemas.microsoft.com/office/drawing/2014/main" id="{44201BEF-470F-490E-A75C-B93935F8E536}"/>
                  </a:ext>
                </a:extLst>
              </p:cNvPr>
              <p:cNvSpPr txBox="1"/>
              <p:nvPr/>
            </p:nvSpPr>
            <p:spPr>
              <a:xfrm>
                <a:off x="7306504" y="5324984"/>
                <a:ext cx="769556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数据层</a:t>
                </a:r>
              </a:p>
            </p:txBody>
          </p:sp>
          <p:sp>
            <p:nvSpPr>
              <p:cNvPr id="172" name="文本框 171">
                <a:extLst>
                  <a:ext uri="{FF2B5EF4-FFF2-40B4-BE49-F238E27FC236}">
                    <a16:creationId xmlns="" xmlns:a16="http://schemas.microsoft.com/office/drawing/2014/main" id="{5BFF9199-2676-4218-B549-B1D7155BBA1E}"/>
                  </a:ext>
                </a:extLst>
              </p:cNvPr>
              <p:cNvSpPr txBox="1"/>
              <p:nvPr/>
            </p:nvSpPr>
            <p:spPr>
              <a:xfrm>
                <a:off x="9460942" y="5370990"/>
                <a:ext cx="952783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分析决策</a:t>
                </a:r>
              </a:p>
            </p:txBody>
          </p:sp>
          <p:cxnSp>
            <p:nvCxnSpPr>
              <p:cNvPr id="173" name="直接连接符 172">
                <a:extLst>
                  <a:ext uri="{FF2B5EF4-FFF2-40B4-BE49-F238E27FC236}">
                    <a16:creationId xmlns="" xmlns:a16="http://schemas.microsoft.com/office/drawing/2014/main" id="{0753207F-F37C-4275-88DA-22DA9F81176E}"/>
                  </a:ext>
                </a:extLst>
              </p:cNvPr>
              <p:cNvCxnSpPr/>
              <p:nvPr/>
            </p:nvCxnSpPr>
            <p:spPr>
              <a:xfrm>
                <a:off x="8061874" y="4956659"/>
                <a:ext cx="0" cy="1159328"/>
              </a:xfrm>
              <a:prstGeom prst="line">
                <a:avLst/>
              </a:prstGeom>
              <a:ln>
                <a:prstDash val="dash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191" name="图片 19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3073" y="1064538"/>
              <a:ext cx="384536" cy="305630"/>
            </a:xfrm>
            <a:prstGeom prst="rect">
              <a:avLst/>
            </a:prstGeom>
          </p:spPr>
        </p:pic>
        <p:pic>
          <p:nvPicPr>
            <p:cNvPr id="192" name="图片 19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6106" y="990247"/>
              <a:ext cx="406610" cy="406610"/>
            </a:xfrm>
            <a:prstGeom prst="rect">
              <a:avLst/>
            </a:prstGeom>
          </p:spPr>
        </p:pic>
        <p:pic>
          <p:nvPicPr>
            <p:cNvPr id="193" name="图片 19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0179" y="1063037"/>
              <a:ext cx="320326" cy="3203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7131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6351" y="297562"/>
            <a:ext cx="6522862" cy="470055"/>
          </a:xfrm>
        </p:spPr>
        <p:txBody>
          <a:bodyPr/>
          <a:lstStyle/>
          <a:p>
            <a:r>
              <a:rPr lang="zh-CN" altLang="en-US" dirty="0" smtClean="0"/>
              <a:t>数据质量监控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771863" y="1313827"/>
            <a:ext cx="7527647" cy="3971208"/>
            <a:chOff x="771863" y="1313827"/>
            <a:chExt cx="7527647" cy="3971208"/>
          </a:xfrm>
        </p:grpSpPr>
        <p:sp>
          <p:nvSpPr>
            <p:cNvPr id="7" name="矩形 6"/>
            <p:cNvSpPr/>
            <p:nvPr/>
          </p:nvSpPr>
          <p:spPr>
            <a:xfrm>
              <a:off x="776809" y="2310590"/>
              <a:ext cx="7522701" cy="1628171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矩形 28"/>
            <p:cNvSpPr/>
            <p:nvPr/>
          </p:nvSpPr>
          <p:spPr>
            <a:xfrm>
              <a:off x="2292836" y="2354586"/>
              <a:ext cx="4816274" cy="1512167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776809" y="4658840"/>
              <a:ext cx="7522701" cy="626195"/>
            </a:xfrm>
            <a:prstGeom prst="rect">
              <a:avLst/>
            </a:prstGeom>
            <a:solidFill>
              <a:schemeClr val="bg1">
                <a:lumMod val="85000"/>
                <a:alpha val="40000"/>
              </a:schemeClr>
            </a:solidFill>
            <a:ln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矩形 5"/>
            <p:cNvSpPr/>
            <p:nvPr/>
          </p:nvSpPr>
          <p:spPr>
            <a:xfrm>
              <a:off x="776809" y="4010769"/>
              <a:ext cx="7522701" cy="504056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" name="矩形 7"/>
            <p:cNvSpPr/>
            <p:nvPr/>
          </p:nvSpPr>
          <p:spPr>
            <a:xfrm>
              <a:off x="776809" y="1313827"/>
              <a:ext cx="7522701" cy="921439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流程图: 磁盘 8"/>
            <p:cNvSpPr/>
            <p:nvPr/>
          </p:nvSpPr>
          <p:spPr>
            <a:xfrm>
              <a:off x="1260006" y="4730849"/>
              <a:ext cx="1777032" cy="45816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运营管控、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OPK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流程图: 磁盘 9"/>
            <p:cNvSpPr/>
            <p:nvPr/>
          </p:nvSpPr>
          <p:spPr>
            <a:xfrm>
              <a:off x="3350467" y="4730849"/>
              <a:ext cx="164326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、成本、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A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流程图: 磁盘 10"/>
            <p:cNvSpPr/>
            <p:nvPr/>
          </p:nvSpPr>
          <p:spPr>
            <a:xfrm>
              <a:off x="5265123" y="4746809"/>
              <a:ext cx="158025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土地资源、项目管理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流程图: 磁盘 11"/>
            <p:cNvSpPr/>
            <p:nvPr/>
          </p:nvSpPr>
          <p:spPr>
            <a:xfrm>
              <a:off x="6963299" y="4730849"/>
              <a:ext cx="113123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补录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2898909" y="4144208"/>
              <a:ext cx="2808312" cy="319087"/>
              <a:chOff x="1998323" y="2210618"/>
              <a:chExt cx="4496660" cy="319087"/>
            </a:xfrm>
            <a:solidFill>
              <a:srgbClr val="996633"/>
            </a:solidFill>
          </p:grpSpPr>
          <p:sp>
            <p:nvSpPr>
              <p:cNvPr id="14" name="AutoShape 54"/>
              <p:cNvSpPr>
                <a:spLocks noChangeArrowheads="1"/>
              </p:cNvSpPr>
              <p:nvPr/>
            </p:nvSpPr>
            <p:spPr bwMode="auto">
              <a:xfrm rot="16200000">
                <a:off x="4087109" y="121832"/>
                <a:ext cx="319087" cy="4496660"/>
              </a:xfrm>
              <a:prstGeom prst="can">
                <a:avLst>
                  <a:gd name="adj" fmla="val 45192"/>
                </a:avLst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 dirty="0"/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3352745" y="2234935"/>
                <a:ext cx="2851621" cy="246221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初步治理</a:t>
                </a:r>
                <a:endParaRPr lang="zh-CN" altLang="en-US" sz="1000" b="1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2334361" y="2296821"/>
              <a:ext cx="1249174" cy="332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2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数据质量管理</a:t>
              </a:r>
            </a:p>
          </p:txBody>
        </p:sp>
        <p:sp>
          <p:nvSpPr>
            <p:cNvPr id="19" name="流程图: 磁盘 18"/>
            <p:cNvSpPr/>
            <p:nvPr/>
          </p:nvSpPr>
          <p:spPr>
            <a:xfrm>
              <a:off x="2906848" y="2584350"/>
              <a:ext cx="2944387" cy="337737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则库</a:t>
              </a:r>
            </a:p>
          </p:txBody>
        </p:sp>
        <p:sp>
          <p:nvSpPr>
            <p:cNvPr id="20" name="流程图: 磁盘 19"/>
            <p:cNvSpPr/>
            <p:nvPr/>
          </p:nvSpPr>
          <p:spPr>
            <a:xfrm>
              <a:off x="2906848" y="2992338"/>
              <a:ext cx="2961285" cy="331368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缺陷库</a:t>
              </a:r>
            </a:p>
          </p:txBody>
        </p:sp>
        <p:sp>
          <p:nvSpPr>
            <p:cNvPr id="24" name="上下箭头 23"/>
            <p:cNvSpPr/>
            <p:nvPr/>
          </p:nvSpPr>
          <p:spPr>
            <a:xfrm>
              <a:off x="4164535" y="3829046"/>
              <a:ext cx="205049" cy="226547"/>
            </a:xfrm>
            <a:prstGeom prst="upDown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7222089" y="2416359"/>
              <a:ext cx="964442" cy="1423559"/>
              <a:chOff x="3834139" y="3006833"/>
              <a:chExt cx="1060495" cy="717045"/>
            </a:xfrm>
            <a:solidFill>
              <a:schemeClr val="bg1">
                <a:lumMod val="95000"/>
              </a:schemeClr>
            </a:solidFill>
          </p:grpSpPr>
          <p:sp>
            <p:nvSpPr>
              <p:cNvPr id="39" name="AutoShape 28"/>
              <p:cNvSpPr>
                <a:spLocks noChangeArrowheads="1"/>
              </p:cNvSpPr>
              <p:nvPr/>
            </p:nvSpPr>
            <p:spPr bwMode="auto">
              <a:xfrm>
                <a:off x="3834139" y="3006833"/>
                <a:ext cx="1060495" cy="717045"/>
              </a:xfrm>
              <a:prstGeom prst="can">
                <a:avLst>
                  <a:gd name="adj" fmla="val 50000"/>
                </a:avLst>
              </a:prstGeom>
              <a:grpFill/>
              <a:ln>
                <a:headEnd/>
                <a:tailEnd/>
              </a:ln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4186248" y="3264949"/>
                <a:ext cx="480969" cy="45345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000" b="1">
                    <a:solidFill>
                      <a:schemeClr val="accent2">
                        <a:lumMod val="75000"/>
                      </a:schemeClr>
                    </a:solidFill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050" dirty="0" smtClean="0">
                    <a:solidFill>
                      <a:schemeClr val="tx1"/>
                    </a:solidFill>
                  </a:rPr>
                  <a:t>主数据仓库</a:t>
                </a:r>
                <a:endParaRPr lang="zh-CN" altLang="en-US" sz="105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1" name="圆角矩形 40"/>
            <p:cNvSpPr/>
            <p:nvPr/>
          </p:nvSpPr>
          <p:spPr>
            <a:xfrm flipH="1">
              <a:off x="2537547" y="2775469"/>
              <a:ext cx="279671" cy="88833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规范</a:t>
              </a:r>
            </a:p>
          </p:txBody>
        </p:sp>
        <p:sp>
          <p:nvSpPr>
            <p:cNvPr id="42" name="圆角矩形 41"/>
            <p:cNvSpPr/>
            <p:nvPr/>
          </p:nvSpPr>
          <p:spPr>
            <a:xfrm flipH="1">
              <a:off x="6460399" y="2744725"/>
              <a:ext cx="279671" cy="88833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章制度</a:t>
              </a:r>
            </a:p>
          </p:txBody>
        </p:sp>
        <p:sp>
          <p:nvSpPr>
            <p:cNvPr id="43" name="流程图: 磁盘 42"/>
            <p:cNvSpPr/>
            <p:nvPr/>
          </p:nvSpPr>
          <p:spPr>
            <a:xfrm>
              <a:off x="2906848" y="3372438"/>
              <a:ext cx="2961285" cy="331368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质量追溯库</a:t>
              </a:r>
            </a:p>
          </p:txBody>
        </p:sp>
        <p:grpSp>
          <p:nvGrpSpPr>
            <p:cNvPr id="107" name="组合 106"/>
            <p:cNvGrpSpPr/>
            <p:nvPr/>
          </p:nvGrpSpPr>
          <p:grpSpPr>
            <a:xfrm>
              <a:off x="1241836" y="1348752"/>
              <a:ext cx="3033671" cy="892552"/>
              <a:chOff x="6128469" y="2054541"/>
              <a:chExt cx="2125306" cy="892552"/>
            </a:xfrm>
          </p:grpSpPr>
          <p:sp>
            <p:nvSpPr>
              <p:cNvPr id="53" name="矩形 52"/>
              <p:cNvSpPr/>
              <p:nvPr/>
            </p:nvSpPr>
            <p:spPr>
              <a:xfrm>
                <a:off x="6128469" y="2062435"/>
                <a:ext cx="2113468" cy="853109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3200"/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7953664" y="2054541"/>
                <a:ext cx="300111" cy="892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b="1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质量监控</a:t>
                </a:r>
              </a:p>
            </p:txBody>
          </p:sp>
          <p:sp>
            <p:nvSpPr>
              <p:cNvPr id="79" name="矩形 78"/>
              <p:cNvSpPr/>
              <p:nvPr/>
            </p:nvSpPr>
            <p:spPr>
              <a:xfrm>
                <a:off x="6179180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职责</a:t>
                </a:r>
              </a:p>
            </p:txBody>
          </p:sp>
          <p:sp>
            <p:nvSpPr>
              <p:cNvPr id="80" name="矩形 79"/>
              <p:cNvSpPr/>
              <p:nvPr/>
            </p:nvSpPr>
            <p:spPr>
              <a:xfrm>
                <a:off x="6179180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操作指引</a:t>
                </a:r>
              </a:p>
            </p:txBody>
          </p:sp>
          <p:sp>
            <p:nvSpPr>
              <p:cNvPr id="81" name="矩形 80"/>
              <p:cNvSpPr/>
              <p:nvPr/>
            </p:nvSpPr>
            <p:spPr>
              <a:xfrm>
                <a:off x="6179180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责任归口</a:t>
                </a:r>
              </a:p>
            </p:txBody>
          </p:sp>
          <p:sp>
            <p:nvSpPr>
              <p:cNvPr id="82" name="矩形 81"/>
              <p:cNvSpPr/>
              <p:nvPr/>
            </p:nvSpPr>
            <p:spPr>
              <a:xfrm>
                <a:off x="6179180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理规范</a:t>
                </a:r>
                <a:endPara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矩形 82"/>
              <p:cNvSpPr/>
              <p:nvPr/>
            </p:nvSpPr>
            <p:spPr>
              <a:xfrm>
                <a:off x="6766219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流程</a:t>
                </a:r>
              </a:p>
            </p:txBody>
          </p:sp>
          <p:sp>
            <p:nvSpPr>
              <p:cNvPr id="84" name="矩形 83"/>
              <p:cNvSpPr/>
              <p:nvPr/>
            </p:nvSpPr>
            <p:spPr>
              <a:xfrm>
                <a:off x="6766219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定义</a:t>
                </a:r>
                <a:endPara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矩形 84"/>
              <p:cNvSpPr/>
              <p:nvPr/>
            </p:nvSpPr>
            <p:spPr>
              <a:xfrm>
                <a:off x="6766219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巡检核查 </a:t>
                </a:r>
              </a:p>
            </p:txBody>
          </p:sp>
          <p:sp>
            <p:nvSpPr>
              <p:cNvPr id="86" name="矩形 85"/>
              <p:cNvSpPr/>
              <p:nvPr/>
            </p:nvSpPr>
            <p:spPr>
              <a:xfrm>
                <a:off x="6766219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警维护</a:t>
                </a:r>
              </a:p>
            </p:txBody>
          </p:sp>
          <p:sp>
            <p:nvSpPr>
              <p:cNvPr id="87" name="矩形 86"/>
              <p:cNvSpPr/>
              <p:nvPr/>
            </p:nvSpPr>
            <p:spPr>
              <a:xfrm>
                <a:off x="7349155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</a:t>
                </a:r>
              </a:p>
            </p:txBody>
          </p:sp>
          <p:sp>
            <p:nvSpPr>
              <p:cNvPr id="88" name="矩形 87"/>
              <p:cNvSpPr/>
              <p:nvPr/>
            </p:nvSpPr>
            <p:spPr>
              <a:xfrm>
                <a:off x="7349155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识别校验</a:t>
                </a:r>
              </a:p>
            </p:txBody>
          </p:sp>
          <p:sp>
            <p:nvSpPr>
              <p:cNvPr id="89" name="矩形 88"/>
              <p:cNvSpPr/>
              <p:nvPr/>
            </p:nvSpPr>
            <p:spPr>
              <a:xfrm>
                <a:off x="7349155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值域核查</a:t>
                </a:r>
              </a:p>
            </p:txBody>
          </p:sp>
          <p:sp>
            <p:nvSpPr>
              <p:cNvPr id="90" name="矩形 89"/>
              <p:cNvSpPr/>
              <p:nvPr/>
            </p:nvSpPr>
            <p:spPr>
              <a:xfrm>
                <a:off x="7349155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缺陷预警</a:t>
                </a:r>
              </a:p>
            </p:txBody>
          </p:sp>
        </p:grpSp>
        <p:sp>
          <p:nvSpPr>
            <p:cNvPr id="93" name="文本框 92"/>
            <p:cNvSpPr txBox="1"/>
            <p:nvPr/>
          </p:nvSpPr>
          <p:spPr>
            <a:xfrm>
              <a:off x="816724" y="1387843"/>
              <a:ext cx="300111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应用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4" name="文本框 93"/>
            <p:cNvSpPr txBox="1"/>
            <p:nvPr/>
          </p:nvSpPr>
          <p:spPr>
            <a:xfrm>
              <a:off x="800675" y="2647501"/>
              <a:ext cx="300111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决策</a:t>
              </a: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5" name="文本框 94"/>
            <p:cNvSpPr txBox="1"/>
            <p:nvPr/>
          </p:nvSpPr>
          <p:spPr>
            <a:xfrm>
              <a:off x="771863" y="4010770"/>
              <a:ext cx="529304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获取监控</a:t>
              </a:r>
              <a:endParaRPr lang="en-US" altLang="zh-CN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6" name="文本框 95"/>
            <p:cNvSpPr txBox="1"/>
            <p:nvPr/>
          </p:nvSpPr>
          <p:spPr>
            <a:xfrm>
              <a:off x="771863" y="4680608"/>
              <a:ext cx="532718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业务来源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7" name="椭圆 96"/>
            <p:cNvSpPr/>
            <p:nvPr/>
          </p:nvSpPr>
          <p:spPr>
            <a:xfrm>
              <a:off x="6783746" y="2833731"/>
              <a:ext cx="170935" cy="7103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、巡检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左右箭头 97"/>
            <p:cNvSpPr/>
            <p:nvPr/>
          </p:nvSpPr>
          <p:spPr>
            <a:xfrm flipH="1">
              <a:off x="6983145" y="3011503"/>
              <a:ext cx="255077" cy="226344"/>
            </a:xfrm>
            <a:prstGeom prst="leftRight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2051766" y="2747555"/>
              <a:ext cx="170935" cy="7103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读取、更新、同步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上下箭头 100"/>
            <p:cNvSpPr/>
            <p:nvPr/>
          </p:nvSpPr>
          <p:spPr>
            <a:xfrm>
              <a:off x="4240310" y="2144438"/>
              <a:ext cx="205049" cy="226547"/>
            </a:xfrm>
            <a:prstGeom prst="upDown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左右箭头 102"/>
            <p:cNvSpPr/>
            <p:nvPr/>
          </p:nvSpPr>
          <p:spPr>
            <a:xfrm>
              <a:off x="2210518" y="3001701"/>
              <a:ext cx="236641" cy="217935"/>
            </a:xfrm>
            <a:prstGeom prst="leftRight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08" name="组合 107"/>
            <p:cNvGrpSpPr/>
            <p:nvPr/>
          </p:nvGrpSpPr>
          <p:grpSpPr>
            <a:xfrm>
              <a:off x="1158051" y="2381998"/>
              <a:ext cx="847198" cy="1423559"/>
              <a:chOff x="3590675" y="3006833"/>
              <a:chExt cx="1303959" cy="717045"/>
            </a:xfrm>
            <a:solidFill>
              <a:schemeClr val="bg1">
                <a:lumMod val="95000"/>
              </a:schemeClr>
            </a:solidFill>
          </p:grpSpPr>
          <p:sp>
            <p:nvSpPr>
              <p:cNvPr id="109" name="AutoShape 28"/>
              <p:cNvSpPr>
                <a:spLocks noChangeArrowheads="1"/>
              </p:cNvSpPr>
              <p:nvPr/>
            </p:nvSpPr>
            <p:spPr bwMode="auto">
              <a:xfrm>
                <a:off x="3590675" y="3006833"/>
                <a:ext cx="1303959" cy="717045"/>
              </a:xfrm>
              <a:prstGeom prst="can">
                <a:avLst>
                  <a:gd name="adj" fmla="val 50000"/>
                </a:avLst>
              </a:prstGeom>
              <a:grpFill/>
              <a:ln>
                <a:headEnd/>
                <a:tailEnd/>
              </a:ln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10" name="文本框 109"/>
              <p:cNvSpPr txBox="1"/>
              <p:nvPr/>
            </p:nvSpPr>
            <p:spPr>
              <a:xfrm>
                <a:off x="3984645" y="3245473"/>
                <a:ext cx="480968" cy="453453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000" b="1">
                    <a:solidFill>
                      <a:schemeClr val="accent2">
                        <a:lumMod val="75000"/>
                      </a:schemeClr>
                    </a:solidFill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050" dirty="0" smtClean="0">
                    <a:solidFill>
                      <a:schemeClr val="tx1"/>
                    </a:solidFill>
                  </a:rPr>
                  <a:t>数据资源库</a:t>
                </a:r>
                <a:endParaRPr lang="zh-CN" altLang="en-US" sz="105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12" name="肘形连接符 111"/>
            <p:cNvCxnSpPr>
              <a:stCxn id="9" idx="1"/>
              <a:endCxn id="14" idx="2"/>
            </p:cNvCxnSpPr>
            <p:nvPr/>
          </p:nvCxnSpPr>
          <p:spPr>
            <a:xfrm rot="5400000" flipH="1" flipV="1">
              <a:off x="3092017" y="3519802"/>
              <a:ext cx="267553" cy="2154543"/>
            </a:xfrm>
            <a:prstGeom prst="bentConnector5">
              <a:avLst>
                <a:gd name="adj1" fmla="val 49841"/>
                <a:gd name="adj2" fmla="val 66917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肘形连接符 116"/>
            <p:cNvCxnSpPr>
              <a:stCxn id="12" idx="1"/>
              <a:endCxn id="14" idx="2"/>
            </p:cNvCxnSpPr>
            <p:nvPr/>
          </p:nvCxnSpPr>
          <p:spPr>
            <a:xfrm rot="16200000" flipV="1">
              <a:off x="5782215" y="2984147"/>
              <a:ext cx="267553" cy="3225852"/>
            </a:xfrm>
            <a:prstGeom prst="bentConnector5">
              <a:avLst>
                <a:gd name="adj1" fmla="val 49840"/>
                <a:gd name="adj2" fmla="val 56294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肘形连接符 120"/>
            <p:cNvCxnSpPr>
              <a:stCxn id="10" idx="1"/>
              <a:endCxn id="14" idx="2"/>
            </p:cNvCxnSpPr>
            <p:nvPr/>
          </p:nvCxnSpPr>
          <p:spPr>
            <a:xfrm rot="5400000" flipH="1" flipV="1">
              <a:off x="4103806" y="4531591"/>
              <a:ext cx="267553" cy="130965"/>
            </a:xfrm>
            <a:prstGeom prst="bentConnector5">
              <a:avLst>
                <a:gd name="adj1" fmla="val 49841"/>
                <a:gd name="adj2" fmla="val 801918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肘形连接符 124"/>
            <p:cNvCxnSpPr>
              <a:endCxn id="14" idx="2"/>
            </p:cNvCxnSpPr>
            <p:nvPr/>
          </p:nvCxnSpPr>
          <p:spPr>
            <a:xfrm rot="10800000">
              <a:off x="4303066" y="4463297"/>
              <a:ext cx="1752185" cy="267553"/>
            </a:xfrm>
            <a:prstGeom prst="bentConnector4">
              <a:avLst>
                <a:gd name="adj1" fmla="val 328"/>
                <a:gd name="adj2" fmla="val 51342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矩形 128"/>
            <p:cNvSpPr/>
            <p:nvPr/>
          </p:nvSpPr>
          <p:spPr>
            <a:xfrm>
              <a:off x="4424913" y="1356646"/>
              <a:ext cx="3761618" cy="853109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3200"/>
            </a:p>
          </p:txBody>
        </p:sp>
        <p:sp>
          <p:nvSpPr>
            <p:cNvPr id="130" name="文本框 129"/>
            <p:cNvSpPr txBox="1"/>
            <p:nvPr/>
          </p:nvSpPr>
          <p:spPr>
            <a:xfrm>
              <a:off x="7853509" y="1368094"/>
              <a:ext cx="347136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体系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31" name="矩形 130"/>
            <p:cNvSpPr/>
            <p:nvPr/>
          </p:nvSpPr>
          <p:spPr>
            <a:xfrm>
              <a:off x="4648876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规范</a:t>
              </a:r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矩形 131"/>
            <p:cNvSpPr/>
            <p:nvPr/>
          </p:nvSpPr>
          <p:spPr>
            <a:xfrm>
              <a:off x="4648876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空验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矩形 132"/>
            <p:cNvSpPr/>
            <p:nvPr/>
          </p:nvSpPr>
          <p:spPr>
            <a:xfrm>
              <a:off x="4648876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唯一校验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4648876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类型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5486818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完整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矩形 135"/>
            <p:cNvSpPr/>
            <p:nvPr/>
          </p:nvSpPr>
          <p:spPr>
            <a:xfrm>
              <a:off x="5486818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口径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7" name="矩形 136"/>
            <p:cNvSpPr/>
            <p:nvPr/>
          </p:nvSpPr>
          <p:spPr>
            <a:xfrm>
              <a:off x="5486818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血缘关系 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8" name="矩形 137"/>
            <p:cNvSpPr/>
            <p:nvPr/>
          </p:nvSpPr>
          <p:spPr>
            <a:xfrm>
              <a:off x="5486818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储</a:t>
              </a:r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联</a:t>
              </a:r>
            </a:p>
          </p:txBody>
        </p:sp>
        <p:sp>
          <p:nvSpPr>
            <p:cNvPr id="139" name="矩形 138"/>
            <p:cNvSpPr/>
            <p:nvPr/>
          </p:nvSpPr>
          <p:spPr>
            <a:xfrm>
              <a:off x="6318903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致性</a:t>
              </a:r>
            </a:p>
          </p:txBody>
        </p:sp>
        <p:sp>
          <p:nvSpPr>
            <p:cNvPr id="140" name="矩形 139"/>
            <p:cNvSpPr/>
            <p:nvPr/>
          </p:nvSpPr>
          <p:spPr>
            <a:xfrm>
              <a:off x="6318903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来源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1" name="矩形 140"/>
            <p:cNvSpPr/>
            <p:nvPr/>
          </p:nvSpPr>
          <p:spPr>
            <a:xfrm>
              <a:off x="6318903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度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核准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" name="矩形 141"/>
            <p:cNvSpPr/>
            <p:nvPr/>
          </p:nvSpPr>
          <p:spPr>
            <a:xfrm>
              <a:off x="6318903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冲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" name="矩形 142"/>
            <p:cNvSpPr/>
            <p:nvPr/>
          </p:nvSpPr>
          <p:spPr>
            <a:xfrm>
              <a:off x="7126820" y="1387843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准确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4" name="矩形 143"/>
            <p:cNvSpPr/>
            <p:nvPr/>
          </p:nvSpPr>
          <p:spPr>
            <a:xfrm>
              <a:off x="7126820" y="1577450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度量核查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5" name="矩形 144"/>
            <p:cNvSpPr/>
            <p:nvPr/>
          </p:nvSpPr>
          <p:spPr>
            <a:xfrm>
              <a:off x="7126820" y="177240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阀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值验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6" name="矩形 145"/>
            <p:cNvSpPr/>
            <p:nvPr/>
          </p:nvSpPr>
          <p:spPr>
            <a:xfrm>
              <a:off x="7126820" y="1967872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超期预警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4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物理拓扑架构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043" y="1091408"/>
            <a:ext cx="7429325" cy="576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41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2857536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有理想  鲜花盛开</a:t>
            </a:r>
          </a:p>
        </p:txBody>
      </p:sp>
    </p:spTree>
    <p:extLst>
      <p:ext uri="{BB962C8B-B14F-4D97-AF65-F5344CB8AC3E}">
        <p14:creationId xmlns:p14="http://schemas.microsoft.com/office/powerpoint/2010/main" val="1230740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.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9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21</TotalTime>
  <Words>680</Words>
  <Application>Microsoft Macintosh PowerPoint</Application>
  <PresentationFormat>全屏显示(4:3)</PresentationFormat>
  <Paragraphs>242</Paragraphs>
  <Slides>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0" baseType="lpstr">
      <vt:lpstr>Calibri</vt:lpstr>
      <vt:lpstr>DengXian</vt:lpstr>
      <vt:lpstr>Microsoft YaHei</vt:lpstr>
      <vt:lpstr>ＭＳ Ｐゴシック</vt:lpstr>
      <vt:lpstr>Wingdings</vt:lpstr>
      <vt:lpstr>等线</vt:lpstr>
      <vt:lpstr>黑体</vt:lpstr>
      <vt:lpstr>宋体</vt:lpstr>
      <vt:lpstr>微软雅黑</vt:lpstr>
      <vt:lpstr>Arial</vt:lpstr>
      <vt:lpstr>Office 主题</vt:lpstr>
      <vt:lpstr>.</vt:lpstr>
      <vt:lpstr>2_Office 主题</vt:lpstr>
      <vt:lpstr>think-cell Slide</vt:lpstr>
      <vt:lpstr>PowerPoint 演示文稿</vt:lpstr>
      <vt:lpstr>平台总体架构设计</vt:lpstr>
      <vt:lpstr>平台应用功能架构及实施路线</vt:lpstr>
      <vt:lpstr>数据质量监控</vt:lpstr>
      <vt:lpstr>物理拓扑架构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minghui li</cp:lastModifiedBy>
  <cp:revision>1610</cp:revision>
  <cp:lastPrinted>2018-01-05T11:55:34Z</cp:lastPrinted>
  <dcterms:created xsi:type="dcterms:W3CDTF">2017-08-01T07:25:32Z</dcterms:created>
  <dcterms:modified xsi:type="dcterms:W3CDTF">2018-05-10T03:57:52Z</dcterms:modified>
</cp:coreProperties>
</file>